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  <p:sldMasterId id="2147483669" r:id="rId5"/>
    <p:sldMasterId id="2147483677" r:id="rId6"/>
  </p:sldMasterIdLst>
  <p:notesMasterIdLst>
    <p:notesMasterId r:id="rId39"/>
  </p:notesMasterIdLst>
  <p:handoutMasterIdLst>
    <p:handoutMasterId r:id="rId40"/>
  </p:handoutMasterIdLst>
  <p:sldIdLst>
    <p:sldId id="389" r:id="rId7"/>
    <p:sldId id="999" r:id="rId8"/>
    <p:sldId id="1000" r:id="rId9"/>
    <p:sldId id="1003" r:id="rId10"/>
    <p:sldId id="1004" r:id="rId11"/>
    <p:sldId id="1005" r:id="rId12"/>
    <p:sldId id="1006" r:id="rId13"/>
    <p:sldId id="1007" r:id="rId14"/>
    <p:sldId id="1008" r:id="rId15"/>
    <p:sldId id="1023" r:id="rId16"/>
    <p:sldId id="1009" r:id="rId17"/>
    <p:sldId id="1010" r:id="rId18"/>
    <p:sldId id="1026" r:id="rId19"/>
    <p:sldId id="1012" r:id="rId20"/>
    <p:sldId id="1013" r:id="rId21"/>
    <p:sldId id="1027" r:id="rId22"/>
    <p:sldId id="1014" r:id="rId23"/>
    <p:sldId id="1017" r:id="rId24"/>
    <p:sldId id="1028" r:id="rId25"/>
    <p:sldId id="1015" r:id="rId26"/>
    <p:sldId id="1029" r:id="rId27"/>
    <p:sldId id="1020" r:id="rId28"/>
    <p:sldId id="1030" r:id="rId29"/>
    <p:sldId id="971" r:id="rId30"/>
    <p:sldId id="982" r:id="rId31"/>
    <p:sldId id="996" r:id="rId32"/>
    <p:sldId id="993" r:id="rId33"/>
    <p:sldId id="1032" r:id="rId34"/>
    <p:sldId id="1033" r:id="rId35"/>
    <p:sldId id="1034" r:id="rId36"/>
    <p:sldId id="1035" r:id="rId37"/>
    <p:sldId id="1036" r:id="rId38"/>
  </p:sldIdLst>
  <p:sldSz cx="9144000" cy="6858000" type="screen4x3"/>
  <p:notesSz cx="6797675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aggelis Igglesis" initials="VI" lastIdx="7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8BC9"/>
    <a:srgbClr val="4C7BB1"/>
    <a:srgbClr val="EDF2F9"/>
    <a:srgbClr val="1B65A7"/>
    <a:srgbClr val="FEF100"/>
    <a:srgbClr val="51207D"/>
    <a:srgbClr val="123A22"/>
    <a:srgbClr val="D11266"/>
    <a:srgbClr val="063553"/>
    <a:srgbClr val="4462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8" autoAdjust="0"/>
    <p:restoredTop sz="86653" autoAdjust="0"/>
  </p:normalViewPr>
  <p:slideViewPr>
    <p:cSldViewPr>
      <p:cViewPr varScale="1">
        <p:scale>
          <a:sx n="88" d="100"/>
          <a:sy n="88" d="100"/>
        </p:scale>
        <p:origin x="-571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7" y="1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F45AAE9B-511E-49C3-A9D9-4F02A73EB374}" type="datetimeFigureOut">
              <a:rPr lang="en-US" smtClean="0"/>
              <a:t>20/0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7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440D271-B674-4151-A38E-76ED0970FE5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63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7" y="1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7A3917A7-3722-4A71-95D6-F589C53EB019}" type="datetimeFigureOut">
              <a:rPr lang="en-US" smtClean="0"/>
              <a:t>20/04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70"/>
            <a:ext cx="5438140" cy="4443412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7" y="9378823"/>
            <a:ext cx="2945659" cy="493713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E7D7EED-20F5-48D4-BC6F-628A515C54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341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8892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64114D-D56B-4A23-8F63-3376FF955488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1681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5612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4014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23650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31985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36899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5953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082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7975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913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5882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725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56738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A3D7D0F-4C30-411B-8501-C8E299D4959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8291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1pPr>
            <a:lvl2pPr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2pPr>
            <a:lvl3pPr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3pPr>
            <a:lvl4pPr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4pPr>
            <a:lvl5pPr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723900" algn="l"/>
                <a:tab pos="1447800" algn="l"/>
                <a:tab pos="2171700" algn="l"/>
              </a:tabLst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9pPr>
          </a:lstStyle>
          <a:p>
            <a:fld id="{080977BB-FC65-43CC-AD8B-CC6D5BF7909F}" type="slidenum">
              <a:rPr lang="en-US" sz="1200">
                <a:solidFill>
                  <a:srgbClr val="000000"/>
                </a:solidFill>
                <a:latin typeface="Times New Roman" pitchFamily="18" charset="0"/>
              </a:rPr>
              <a:pPr/>
              <a:t>8</a:t>
            </a:fld>
            <a:endParaRPr lang="en-US" sz="12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16387" name="Rectangle 7"/>
          <p:cNvSpPr txBox="1">
            <a:spLocks noGrp="1" noChangeArrowheads="1"/>
          </p:cNvSpPr>
          <p:nvPr/>
        </p:nvSpPr>
        <p:spPr bwMode="auto">
          <a:xfrm>
            <a:off x="3849482" y="9431418"/>
            <a:ext cx="2948194" cy="495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004" tIns="46002" rIns="92004" bIns="46002" anchor="b"/>
          <a:lstStyle>
            <a:lvl1pPr defTabSz="919163"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1pPr>
            <a:lvl2pPr defTabSz="919163"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2pPr>
            <a:lvl3pPr defTabSz="919163"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3pPr>
            <a:lvl4pPr defTabSz="919163"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4pPr>
            <a:lvl5pPr defTabSz="919163"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400">
                <a:solidFill>
                  <a:schemeClr val="bg1"/>
                </a:solidFill>
                <a:latin typeface="Verdana" pitchFamily="34" charset="0"/>
                <a:cs typeface="Lucida Sans Unicode" pitchFamily="34" charset="0"/>
              </a:defRPr>
            </a:lvl9pPr>
          </a:lstStyle>
          <a:p>
            <a:pPr algn="r">
              <a:buClrTx/>
              <a:buSzTx/>
              <a:buFontTx/>
              <a:buNone/>
            </a:pPr>
            <a:fld id="{1B86F38E-704F-4803-B021-07BA7F40EE61}" type="slidenum">
              <a:rPr lang="en-US" sz="1200">
                <a:solidFill>
                  <a:schemeClr val="tx1"/>
                </a:solidFill>
              </a:rPr>
              <a:pPr algn="r">
                <a:buClrTx/>
                <a:buSzTx/>
                <a:buFontTx/>
                <a:buNone/>
              </a:pPr>
              <a:t>8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0750" y="744538"/>
            <a:ext cx="4962525" cy="3721100"/>
          </a:xfrm>
          <a:ln/>
        </p:spPr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61" y="4715711"/>
            <a:ext cx="4982156" cy="446651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2004" tIns="46002" rIns="92004" bIns="46002"/>
          <a:lstStyle/>
          <a:p>
            <a:pPr defTabSz="914400" eaLnBrk="1" hangingPunct="1"/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25707644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1AF3A40-0A6E-4E26-AB19-DA7AF82086A3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78879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7D7EED-20F5-48D4-BC6F-628A515C546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506480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50913" y="787400"/>
            <a:ext cx="4962525" cy="3721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64114D-D56B-4A23-8F63-3376FF95548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0618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Rectangle 9"/>
          <p:cNvSpPr/>
          <p:nvPr/>
        </p:nvSpPr>
        <p:spPr>
          <a:xfrm>
            <a:off x="-9144" y="6048000"/>
            <a:ext cx="2249424" cy="7200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Rectangle 10"/>
          <p:cNvSpPr/>
          <p:nvPr/>
        </p:nvSpPr>
        <p:spPr>
          <a:xfrm>
            <a:off x="2359152" y="6048000"/>
            <a:ext cx="6784848" cy="7200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Title 7"/>
          <p:cNvSpPr>
            <a:spLocks noGrp="1"/>
          </p:cNvSpPr>
          <p:nvPr>
            <p:ph type="ctrTitle" hasCustomPrompt="1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>
                <a:solidFill>
                  <a:schemeClr val="bg2"/>
                </a:solidFill>
              </a:defRPr>
            </a:lvl1pPr>
          </a:lstStyle>
          <a:p>
            <a:r>
              <a:rPr kumimoji="0" lang="en-US" dirty="0" smtClean="0"/>
              <a:t>Click to edit Master title style</a:t>
            </a:r>
            <a:br>
              <a:rPr kumimoji="0" lang="en-US" dirty="0" smtClean="0"/>
            </a:br>
            <a:endParaRPr kumimoji="0"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dirty="0" smtClean="0"/>
              <a:t>Click to edit Master subtitle style</a:t>
            </a:r>
            <a:endParaRPr kumimoji="0" lang="en-US" dirty="0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Executive Management retreat</a:t>
            </a:r>
            <a:endParaRPr lang="en-US"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AutoShape 4"/>
          <p:cNvSpPr>
            <a:spLocks noChangeAspect="1" noChangeArrowheads="1" noTextEdit="1"/>
          </p:cNvSpPr>
          <p:nvPr/>
        </p:nvSpPr>
        <p:spPr bwMode="auto">
          <a:xfrm>
            <a:off x="-41284" y="5013176"/>
            <a:ext cx="2277322" cy="864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2052" name="Picture 4" descr="http://www.itu.int/en/150/itu150logos/150logo-White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287" y="6021288"/>
            <a:ext cx="1092178" cy="819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5087"/>
            <a:ext cx="8229600" cy="696913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252" y="2752725"/>
            <a:ext cx="8204548" cy="34194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E36E0B5-6C7A-49BE-87B5-27DC98161FB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57200" y="914401"/>
            <a:ext cx="8229600" cy="1676400"/>
          </a:xfrm>
        </p:spPr>
        <p:txBody>
          <a:bodyPr/>
          <a:lstStyle>
            <a:lvl1pPr>
              <a:buNone/>
              <a:defRPr sz="2400" baseline="0">
                <a:solidFill>
                  <a:srgbClr val="4DC5E2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 smtClean="0">
                <a:solidFill>
                  <a:srgbClr val="4DC5E2"/>
                </a:solidFill>
              </a:rPr>
              <a:t>Type lead in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52993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per-median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Executive Management retrea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 Placeholder 12"/>
          <p:cNvSpPr>
            <a:spLocks noGrp="1"/>
          </p:cNvSpPr>
          <p:nvPr>
            <p:ph idx="1"/>
          </p:nvPr>
        </p:nvSpPr>
        <p:spPr>
          <a:xfrm>
            <a:off x="612648" y="1046962"/>
            <a:ext cx="8153400" cy="547838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498217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799" y="3255119"/>
            <a:ext cx="7772400" cy="1470025"/>
          </a:xfrm>
        </p:spPr>
        <p:txBody>
          <a:bodyPr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1560" y="4725144"/>
            <a:ext cx="6400800" cy="1752600"/>
          </a:xfrm>
        </p:spPr>
        <p:txBody>
          <a:bodyPr/>
          <a:lstStyle>
            <a:lvl1pPr marL="0" indent="0" algn="ctr">
              <a:buNone/>
              <a:defRPr sz="4400" b="1">
                <a:solidFill>
                  <a:schemeClr val="bg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5" descr="C:\Users\ponder\Desktop\WSIS+10\PPTX_FILES\PPTX_FILES\world_summi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394" y="95551"/>
            <a:ext cx="853122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437" y="557403"/>
            <a:ext cx="7999125" cy="2583565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chemeClr val="accent3">
                <a:lumMod val="75000"/>
              </a:schemeClr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</p:spTree>
    <p:extLst>
      <p:ext uri="{BB962C8B-B14F-4D97-AF65-F5344CB8AC3E}">
        <p14:creationId xmlns:p14="http://schemas.microsoft.com/office/powerpoint/2010/main" val="1574060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solidFill>
            <a:srgbClr val="003300">
              <a:alpha val="32941"/>
            </a:srgbClr>
          </a:solidFill>
        </p:spPr>
        <p:txBody>
          <a:bodyPr vert="horz" lIns="91440" tIns="45720" rIns="91440" bIns="45720" rtlCol="0">
            <a:normAutofit lnSpcReduction="10000"/>
          </a:bodyPr>
          <a:lstStyle>
            <a:lvl1pPr>
              <a:defRPr lang="en-US" sz="280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699792" y="6356350"/>
            <a:ext cx="2133600" cy="365125"/>
          </a:xfrm>
        </p:spPr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499992" y="6356350"/>
            <a:ext cx="2895600" cy="365125"/>
          </a:xfrm>
        </p:spPr>
        <p:txBody>
          <a:bodyPr/>
          <a:lstStyle/>
          <a:p>
            <a:endParaRPr lang="en-US" dirty="0">
              <a:solidFill>
                <a:srgbClr val="EEECE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9" name="Picture 5" descr="C:\Users\ponder\Desktop\WSIS+10\PPTX_FILES\PPTX_FILES\world_summit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394" y="95551"/>
            <a:ext cx="8531225" cy="165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6116788"/>
            <a:ext cx="2232248" cy="64553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0047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9302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435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5089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142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2695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471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7703768" cy="9906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61396047-A25F-4C04-801C-E0B65870C122}" type="datetime1">
              <a:rPr lang="en-US" smtClean="0"/>
              <a:t>20/04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ecutive Management retreat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02668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43996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EEECE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312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7" name="Rectangle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E6ADB3C4-37BC-4668-B07C-AC0A61DA5C70}" type="datetime1">
              <a:rPr lang="en-US" smtClean="0"/>
              <a:t>20/04/2015</a:t>
            </a:fld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Executive Management retreat</a:t>
            </a:r>
            <a:endParaRPr lang="en-US"/>
          </a:p>
        </p:txBody>
      </p:sp>
      <p:pic>
        <p:nvPicPr>
          <p:cNvPr id="11" name="Picture 2" descr="http://www.itu.int/en/150/itu150logos/150logo-Blue0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554" y="2743200"/>
            <a:ext cx="786292" cy="58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fld id="{2A6A0925-FB6F-41AF-BC67-F44E03827291}" type="datetime1">
              <a:rPr lang="en-US" smtClean="0"/>
              <a:t>20/04/2015</a:t>
            </a:fld>
            <a:endParaRPr lang="en-US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r>
              <a:rPr lang="en-US" smtClean="0"/>
              <a:t>Executive Management retreat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7783016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5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rtlCol="0"/>
          <a:lstStyle/>
          <a:p>
            <a:fld id="{D21AAC08-61CE-4B90-B52E-AEC4BE5150C8}" type="datetime1">
              <a:rPr lang="en-US" smtClean="0"/>
              <a:t>20/04/2015</a:t>
            </a:fld>
            <a:endParaRPr lang="en-US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DDD2957A-38BF-4766-88FD-46AF2F4ED65D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r>
              <a:rPr lang="en-US" smtClean="0"/>
              <a:t>Executive Management retreat</a:t>
            </a:r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084A3F8D-7326-489B-A111-72F253C23C70}" type="datetime1">
              <a:rPr lang="en-US" smtClean="0"/>
              <a:t>20/04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ecutive Management retreat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7634808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/>
          <a:p>
            <a:fld id="{25BF7998-6C05-4FEA-AF9A-E2F1785DC22B}" type="datetime1">
              <a:rPr lang="en-US" smtClean="0"/>
              <a:t>20/04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Executive Management retreat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Content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46310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D5B1D2-8069-4498-9CE8-295D967B4C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5305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7612058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925144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83365" y="6525344"/>
            <a:ext cx="5421083" cy="221109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Executive Management retreat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Rectangle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590550" y="1280160"/>
            <a:ext cx="8553450" cy="571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http://www.itu.int/en/150/itu150logos/150logo-Blue01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13360"/>
            <a:ext cx="786292" cy="58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74" r:id="rId8"/>
    <p:sldLayoutId id="2147483675" r:id="rId9"/>
    <p:sldLayoutId id="214748367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lnSpc>
          <a:spcPct val="80000"/>
        </a:lnSpc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Placeholder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7612058" cy="573886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en-US" dirty="0" smtClean="0"/>
              <a:t>Click to edit Master title style</a:t>
            </a:r>
            <a:endParaRPr kumimoji="0"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612648" y="1046962"/>
            <a:ext cx="8153400" cy="5478382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183365" y="6525344"/>
            <a:ext cx="5421083" cy="221109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Executive Management retreat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0" y="810424"/>
            <a:ext cx="533400" cy="228600"/>
          </a:xfrm>
          <a:prstGeom prst="rect">
            <a:avLst/>
          </a:prstGeom>
          <a:solidFill>
            <a:srgbClr val="498BC9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Rectangle 8"/>
          <p:cNvSpPr/>
          <p:nvPr/>
        </p:nvSpPr>
        <p:spPr>
          <a:xfrm>
            <a:off x="590550" y="810424"/>
            <a:ext cx="8553450" cy="5715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Slide Number Placeholder 22"/>
          <p:cNvSpPr>
            <a:spLocks noGrp="1"/>
          </p:cNvSpPr>
          <p:nvPr>
            <p:ph type="sldNum" sz="quarter" idx="4"/>
          </p:nvPr>
        </p:nvSpPr>
        <p:spPr>
          <a:xfrm>
            <a:off x="0" y="802486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DDD2957A-38BF-4766-88FD-46AF2F4ED65D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2" descr="http://www.itu.int/en/150/itu150logos/150logo-Blue01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213360"/>
            <a:ext cx="786292" cy="589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939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latinLnBrk="0" hangingPunct="1">
        <a:lnSpc>
          <a:spcPct val="80000"/>
        </a:lnSpc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-99391"/>
            <a:ext cx="9180512" cy="69847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2"/>
                </a:solidFill>
              </a:defRPr>
            </a:lvl1pPr>
          </a:lstStyle>
          <a:p>
            <a:fld id="{143E3720-A155-42D2-B533-4C175C65A57C}" type="datetimeFigureOut">
              <a:rPr lang="en-US" smtClean="0">
                <a:solidFill>
                  <a:srgbClr val="EEECE1"/>
                </a:solidFill>
              </a:rPr>
              <a:pPr/>
              <a:t>20/04/2015</a:t>
            </a:fld>
            <a:endParaRPr lang="en-US">
              <a:solidFill>
                <a:srgbClr val="EEECE1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endParaRPr lang="en-US" dirty="0">
              <a:solidFill>
                <a:srgbClr val="EEECE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7BB33-8309-43AE-9EFA-9352F79F7C3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52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b="1" kern="1200">
          <a:solidFill>
            <a:schemeClr val="bg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bg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bg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bg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bg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5.jpeg"/><Relationship Id="rId5" Type="http://schemas.openxmlformats.org/officeDocument/2006/relationships/hyperlink" Target="http://www.google.com/url?sa=i&amp;rct=j&amp;q=&amp;source=images&amp;cd=&amp;cad=rja&amp;docid=BwSXNo6xHDkDuM&amp;tbnid=56BpXrDL8XfOQM:&amp;ved=0CAUQjRw&amp;url=http://www.africatelecomit.com/itu-appoints-nigerias-1st-lady-as-its-child-online-protection-champion/&amp;ei=-J2xUa_1LYSPO5qagdAB&amp;bvm=bv.47534661,d.ZWU&amp;psig=AFQjCNEFn968PwXDSh7dw9kr-qwdarLWUA&amp;ust=1370681183376956" TargetMode="External"/><Relationship Id="rId4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41.jpg"/><Relationship Id="rId5" Type="http://schemas.openxmlformats.org/officeDocument/2006/relationships/image" Target="../media/image40.jpeg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3" Type="http://schemas.openxmlformats.org/officeDocument/2006/relationships/image" Target="../media/image42.pn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google.com/url?sa=i&amp;rct=j&amp;q=ACOPEA&amp;source=images&amp;cd=&amp;cad=rja&amp;docid=JDM100fzNeRi9M&amp;tbnid=OBF96eWC6IBJ-M:&amp;ved=0CAUQjRw&amp;url=http://www.itu.int/cop&amp;ei=QayxUfnVGML_PJDlgbgJ&amp;bvm=bv.47534661,d.ZWU&amp;psig=AFQjCNF8gZ4idoFXL6tOKIGCC0WSBZG1TA&amp;ust=1370684855218221" TargetMode="External"/><Relationship Id="rId5" Type="http://schemas.openxmlformats.org/officeDocument/2006/relationships/image" Target="../media/image43.jpeg"/><Relationship Id="rId4" Type="http://schemas.openxmlformats.org/officeDocument/2006/relationships/hyperlink" Target="http://www.google.com/url?sa=i&amp;rct=j&amp;q=&amp;source=images&amp;cd=&amp;cad=rja&amp;docid=avJNRGTRClJINM&amp;tbnid=2DDS4o-mr9croM:&amp;ved=0CAUQjRw&amp;url=http://www.forbes.com/companies/facebook/&amp;ei=k6uxUaeoG8HUPNnJgdgK&amp;bvm=bv.47534661,d.ZWU&amp;psig=AFQjCNFKa-s2VMs0Rw-Jun_mWMDnpPZGOg&amp;ust=1370684625009735" TargetMode="External"/><Relationship Id="rId9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://www.itu.int/en/ITU-D/Statistics/Documents/publications/mis2013/MIS2013_infographics_3.pdf" TargetMode="Externa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9.jpeg"/><Relationship Id="rId4" Type="http://schemas.openxmlformats.org/officeDocument/2006/relationships/image" Target="../media/image48.gif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0.png"/><Relationship Id="rId5" Type="http://schemas.openxmlformats.org/officeDocument/2006/relationships/image" Target="../media/image52.png"/><Relationship Id="rId4" Type="http://schemas.openxmlformats.org/officeDocument/2006/relationships/image" Target="../media/image53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4.png"/><Relationship Id="rId7" Type="http://schemas.openxmlformats.org/officeDocument/2006/relationships/image" Target="../media/image56.png"/><Relationship Id="rId2" Type="http://schemas.openxmlformats.org/officeDocument/2006/relationships/hyperlink" Target="http://portal.unesco.org/ci/en/ev.php-URL_ID=1543&amp;URL_DO=DO_TOPIC&amp;URL_SECTION=201.html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undp.org/" TargetMode="External"/><Relationship Id="rId5" Type="http://schemas.openxmlformats.org/officeDocument/2006/relationships/image" Target="../media/image55.png"/><Relationship Id="rId4" Type="http://schemas.openxmlformats.org/officeDocument/2006/relationships/hyperlink" Target="http://www.unctad.org/templates/Page.asp?intItemID=4239" TargetMode="Externa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hyperlink" Target="http://www.un.org/en/development/desa/index.shtml" TargetMode="External"/><Relationship Id="rId13" Type="http://schemas.openxmlformats.org/officeDocument/2006/relationships/image" Target="../media/image60.png"/><Relationship Id="rId18" Type="http://schemas.openxmlformats.org/officeDocument/2006/relationships/hyperlink" Target="http://www.who.int/" TargetMode="External"/><Relationship Id="rId26" Type="http://schemas.openxmlformats.org/officeDocument/2006/relationships/image" Target="../media/image67.png"/><Relationship Id="rId3" Type="http://schemas.openxmlformats.org/officeDocument/2006/relationships/image" Target="../media/image54.png"/><Relationship Id="rId21" Type="http://schemas.openxmlformats.org/officeDocument/2006/relationships/image" Target="../media/image64.png"/><Relationship Id="rId34" Type="http://schemas.openxmlformats.org/officeDocument/2006/relationships/image" Target="../media/image71.png"/><Relationship Id="rId7" Type="http://schemas.openxmlformats.org/officeDocument/2006/relationships/image" Target="../media/image56.png"/><Relationship Id="rId12" Type="http://schemas.openxmlformats.org/officeDocument/2006/relationships/hyperlink" Target="http://www.unep.org/" TargetMode="External"/><Relationship Id="rId17" Type="http://schemas.openxmlformats.org/officeDocument/2006/relationships/image" Target="../media/image62.png"/><Relationship Id="rId25" Type="http://schemas.openxmlformats.org/officeDocument/2006/relationships/hyperlink" Target="http://www.unwomen.org/" TargetMode="External"/><Relationship Id="rId33" Type="http://schemas.openxmlformats.org/officeDocument/2006/relationships/hyperlink" Target="http://www.uneca.org/" TargetMode="External"/><Relationship Id="rId38" Type="http://schemas.openxmlformats.org/officeDocument/2006/relationships/image" Target="../media/image73.png"/><Relationship Id="rId2" Type="http://schemas.openxmlformats.org/officeDocument/2006/relationships/hyperlink" Target="http://portal.unesco.org/ci/en/ev.php-URL_ID=1543&amp;URL_DO=DO_TOPIC&amp;URL_SECTION=201.html" TargetMode="External"/><Relationship Id="rId16" Type="http://schemas.openxmlformats.org/officeDocument/2006/relationships/hyperlink" Target="http://www.ilo.org/" TargetMode="External"/><Relationship Id="rId20" Type="http://schemas.openxmlformats.org/officeDocument/2006/relationships/image" Target="../media/image57.jpeg"/><Relationship Id="rId29" Type="http://schemas.openxmlformats.org/officeDocument/2006/relationships/hyperlink" Target="http://www.cepal.org/" TargetMode="External"/><Relationship Id="rId1" Type="http://schemas.openxmlformats.org/officeDocument/2006/relationships/slideLayout" Target="../slideLayouts/slideLayout12.xml"/><Relationship Id="rId6" Type="http://schemas.openxmlformats.org/officeDocument/2006/relationships/hyperlink" Target="http://www.undp.org/" TargetMode="External"/><Relationship Id="rId11" Type="http://schemas.openxmlformats.org/officeDocument/2006/relationships/image" Target="../media/image59.png"/><Relationship Id="rId24" Type="http://schemas.openxmlformats.org/officeDocument/2006/relationships/image" Target="../media/image66.png"/><Relationship Id="rId32" Type="http://schemas.openxmlformats.org/officeDocument/2006/relationships/image" Target="../media/image70.png"/><Relationship Id="rId37" Type="http://schemas.openxmlformats.org/officeDocument/2006/relationships/hyperlink" Target="http://www.unece.org/" TargetMode="External"/><Relationship Id="rId5" Type="http://schemas.openxmlformats.org/officeDocument/2006/relationships/image" Target="../media/image55.png"/><Relationship Id="rId15" Type="http://schemas.openxmlformats.org/officeDocument/2006/relationships/image" Target="../media/image61.png"/><Relationship Id="rId23" Type="http://schemas.openxmlformats.org/officeDocument/2006/relationships/hyperlink" Target="https://www.unodc.org/" TargetMode="External"/><Relationship Id="rId28" Type="http://schemas.openxmlformats.org/officeDocument/2006/relationships/image" Target="../media/image68.png"/><Relationship Id="rId36" Type="http://schemas.openxmlformats.org/officeDocument/2006/relationships/image" Target="../media/image72.png"/><Relationship Id="rId10" Type="http://schemas.openxmlformats.org/officeDocument/2006/relationships/hyperlink" Target="http://www.e-agriculture.org/en/wsis-follow-up" TargetMode="External"/><Relationship Id="rId19" Type="http://schemas.openxmlformats.org/officeDocument/2006/relationships/image" Target="../media/image63.png"/><Relationship Id="rId31" Type="http://schemas.openxmlformats.org/officeDocument/2006/relationships/hyperlink" Target="http://www.escwa.un.org/" TargetMode="External"/><Relationship Id="rId4" Type="http://schemas.openxmlformats.org/officeDocument/2006/relationships/hyperlink" Target="http://www.unctad.org/templates/Page.asp?intItemID=4239" TargetMode="External"/><Relationship Id="rId9" Type="http://schemas.openxmlformats.org/officeDocument/2006/relationships/image" Target="../media/image58.png"/><Relationship Id="rId14" Type="http://schemas.openxmlformats.org/officeDocument/2006/relationships/hyperlink" Target="http://www.wmo.int/" TargetMode="External"/><Relationship Id="rId22" Type="http://schemas.openxmlformats.org/officeDocument/2006/relationships/image" Target="../media/image65.png"/><Relationship Id="rId27" Type="http://schemas.openxmlformats.org/officeDocument/2006/relationships/hyperlink" Target="http://www.unescap.org/" TargetMode="External"/><Relationship Id="rId30" Type="http://schemas.openxmlformats.org/officeDocument/2006/relationships/image" Target="../media/image69.png"/><Relationship Id="rId35" Type="http://schemas.openxmlformats.org/officeDocument/2006/relationships/hyperlink" Target="http://www.wfp.org/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7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tu.int/osg/csd/cybersecurity/gca/impact_index.html" TargetMode="External"/><Relationship Id="rId3" Type="http://schemas.openxmlformats.org/officeDocument/2006/relationships/image" Target="../media/image16.png"/><Relationship Id="rId7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://www.itu.int/osg/csd/cybersecurity/gca/cop" TargetMode="External"/><Relationship Id="rId5" Type="http://schemas.openxmlformats.org/officeDocument/2006/relationships/image" Target="../media/image18.jpeg"/><Relationship Id="rId4" Type="http://schemas.openxmlformats.org/officeDocument/2006/relationships/image" Target="../media/image17.png"/><Relationship Id="rId9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362200" y="836712"/>
            <a:ext cx="6602288" cy="4968552"/>
          </a:xfrm>
        </p:spPr>
        <p:txBody>
          <a:bodyPr>
            <a:normAutofit/>
          </a:bodyPr>
          <a:lstStyle/>
          <a:p>
            <a:r>
              <a:rPr lang="en-US" sz="3200" b="1" cap="none" dirty="0" smtClean="0"/>
              <a:t>The Child Online Protection (COP) Initiative</a:t>
            </a:r>
            <a:endParaRPr lang="en-US" sz="3200" b="1" cap="none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sz="1900" dirty="0" smtClean="0"/>
              <a:t>		</a:t>
            </a:r>
            <a:r>
              <a:rPr lang="en-US" dirty="0" smtClean="0"/>
              <a:t>		</a:t>
            </a:r>
            <a:endParaRPr lang="en-US" sz="1900" b="1" dirty="0"/>
          </a:p>
        </p:txBody>
      </p:sp>
    </p:spTree>
    <p:extLst>
      <p:ext uri="{BB962C8B-B14F-4D97-AF65-F5344CB8AC3E}">
        <p14:creationId xmlns:p14="http://schemas.microsoft.com/office/powerpoint/2010/main" val="3329753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424558"/>
            <a:ext cx="8136904" cy="53888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65729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-36512" y="611977"/>
            <a:ext cx="878681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We also count on the support of global </a:t>
            </a:r>
            <a:r>
              <a:rPr lang="en-US" sz="3200" b="1" kern="0" dirty="0" smtClean="0">
                <a:solidFill>
                  <a:srgbClr val="FF0000"/>
                </a:solidFill>
                <a:latin typeface="Calibri" pitchFamily="34" charset="0"/>
                <a:ea typeface="+mj-ea"/>
                <a:cs typeface="Calibri" pitchFamily="34" charset="0"/>
              </a:rPr>
              <a:t>advocates</a:t>
            </a:r>
            <a:endParaRPr lang="en-US" sz="3200" b="1" kern="0" dirty="0">
              <a:solidFill>
                <a:srgbClr val="FF0000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pic>
        <p:nvPicPr>
          <p:cNvPr id="4" name="Picture 6" descr="http://farm8.staticflickr.com/7227/7307558416_d412e95138_z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86" y="1403876"/>
            <a:ext cx="2814732" cy="1873557"/>
          </a:xfrm>
          <a:prstGeom prst="rect">
            <a:avLst/>
          </a:prstGeom>
          <a:noFill/>
          <a:ln>
            <a:solidFill>
              <a:srgbClr val="4C6ECC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http://admin.csrwire.com/system/press_release_images/33141/normal/Debi_Taylor_Tate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096"/>
          <a:stretch/>
        </p:blipFill>
        <p:spPr bwMode="auto">
          <a:xfrm>
            <a:off x="566086" y="4397136"/>
            <a:ext cx="2269626" cy="2448272"/>
          </a:xfrm>
          <a:prstGeom prst="rect">
            <a:avLst/>
          </a:prstGeom>
          <a:noFill/>
          <a:ln>
            <a:solidFill>
              <a:srgbClr val="4C6ECC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491880" y="1577870"/>
            <a:ext cx="468052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2010: H.E</a:t>
            </a:r>
            <a:r>
              <a:rPr lang="en-GB" sz="2000" b="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Laura Chinchilla </a:t>
            </a:r>
            <a:r>
              <a:rPr lang="en-GB" sz="2000" b="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Former President </a:t>
            </a:r>
            <a:r>
              <a:rPr lang="en-GB" sz="2000" b="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of Costa </a:t>
            </a:r>
            <a:r>
              <a:rPr lang="en-GB" sz="2000" b="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Rica, COP Patron</a:t>
            </a:r>
            <a:endParaRPr lang="en-US" sz="2000" b="0" i="1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endParaRPr lang="en-US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987824" y="5351737"/>
            <a:ext cx="396044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2010: Ms</a:t>
            </a:r>
            <a:r>
              <a:rPr lang="en-US" sz="2000" b="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Deborah </a:t>
            </a:r>
            <a:r>
              <a:rPr lang="en-US" sz="2000" b="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Tate US FCC Former Commissioner, </a:t>
            </a:r>
            <a:r>
              <a:rPr lang="en-US" sz="2000" b="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COP Special Envoy</a:t>
            </a:r>
          </a:p>
          <a:p>
            <a:endParaRPr lang="en-US" i="1" dirty="0"/>
          </a:p>
        </p:txBody>
      </p:sp>
      <p:pic>
        <p:nvPicPr>
          <p:cNvPr id="8" name="Picture 2" descr="http://www.africatelecomit.com/wp-content/uploads/2013/05/patience-goodluck-jonathan-nigeria-first-lady1.jpg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178" y="2655335"/>
            <a:ext cx="3024336" cy="2547675"/>
          </a:xfrm>
          <a:prstGeom prst="rect">
            <a:avLst/>
          </a:prstGeom>
          <a:solidFill>
            <a:schemeClr val="accent2"/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</p:pic>
      <p:sp>
        <p:nvSpPr>
          <p:cNvPr id="9" name="Rectangle 8"/>
          <p:cNvSpPr/>
          <p:nvPr/>
        </p:nvSpPr>
        <p:spPr>
          <a:xfrm>
            <a:off x="1331640" y="3411753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en-US" sz="200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2013: H.E. Dame Patience </a:t>
            </a:r>
            <a:r>
              <a:rPr lang="en-US" sz="2000" i="1" dirty="0" err="1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Goodluck</a:t>
            </a:r>
            <a:r>
              <a:rPr lang="en-US" sz="2000" i="1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en-US" sz="2000" i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Jonathan, First Lady of Nigeria, COP Champion</a:t>
            </a:r>
            <a:endParaRPr lang="en-US" sz="2000" i="1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007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2003728" y="3050704"/>
            <a:ext cx="4752528" cy="792237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E438A"/>
              </a:buClr>
              <a:buSzPct val="110000"/>
              <a:buFont typeface="Wingdings" pitchFamily="2" charset="2"/>
              <a:buChar char="§"/>
              <a:defRPr sz="3200">
                <a:solidFill>
                  <a:srgbClr val="5C5C5C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9CC"/>
              </a:buClr>
              <a:buFont typeface="Wingdings" pitchFamily="2" charset="2"/>
              <a:buChar char="Ø"/>
              <a:defRPr sz="2800">
                <a:solidFill>
                  <a:srgbClr val="5C5C5C"/>
                </a:solidFill>
                <a:latin typeface="Calibri" pitchFamily="34" charset="0"/>
                <a:cs typeface="Calibri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9CC"/>
              </a:buClr>
              <a:buFont typeface="Wingdings" pitchFamily="2" charset="2"/>
              <a:buChar char="§"/>
              <a:defRPr sz="2400">
                <a:solidFill>
                  <a:srgbClr val="5C5C5C"/>
                </a:solidFill>
                <a:latin typeface="Calibri" pitchFamily="34" charset="0"/>
                <a:cs typeface="Calibri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2000">
                <a:solidFill>
                  <a:srgbClr val="5C5C5C"/>
                </a:solidFill>
                <a:latin typeface="Calibri" pitchFamily="34" charset="0"/>
                <a:cs typeface="Calibri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2000">
                <a:solidFill>
                  <a:srgbClr val="5C5C5C"/>
                </a:solidFill>
                <a:latin typeface="Calibri" pitchFamily="34" charset="0"/>
                <a:cs typeface="Calibri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2000">
                <a:solidFill>
                  <a:srgbClr val="5C5C5C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2000">
                <a:solidFill>
                  <a:srgbClr val="5C5C5C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2000">
                <a:solidFill>
                  <a:srgbClr val="5C5C5C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Verdana" pitchFamily="34" charset="0"/>
              <a:buChar char="–"/>
              <a:defRPr sz="2000">
                <a:solidFill>
                  <a:srgbClr val="5C5C5C"/>
                </a:solidFill>
                <a:latin typeface="+mn-lt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sz="4000" b="1" kern="0" dirty="0" smtClean="0">
                <a:solidFill>
                  <a:srgbClr val="1B5BA2"/>
                </a:solidFill>
                <a:ea typeface="+mj-ea"/>
              </a:rPr>
              <a:t>What do we do? </a:t>
            </a:r>
            <a:endParaRPr lang="en-US" sz="4000" b="1" kern="0" dirty="0">
              <a:solidFill>
                <a:srgbClr val="1B5BA2"/>
              </a:solidFill>
              <a:ea typeface="+mj-ea"/>
            </a:endParaRPr>
          </a:p>
        </p:txBody>
      </p:sp>
      <p:pic>
        <p:nvPicPr>
          <p:cNvPr id="2050" name="Picture 2" descr="C:\Users\licciard\Desktop\Documents\Documents\COP\COP images\for cop presentation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731104"/>
            <a:ext cx="2528194" cy="2559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licciard\Pictures\Governmen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8010" y="670951"/>
            <a:ext cx="2398009" cy="2398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licciard\Pictures\organization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1020" y="3623861"/>
            <a:ext cx="2774039" cy="27740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C:\Users\licciard\Documents\Downloads\shutterstock_68384056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772992"/>
            <a:ext cx="3048000" cy="2193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3857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266700" y="564336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r>
              <a:rPr lang="en-US" sz="40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  <a:sym typeface="Arial" pitchFamily="34" charset="0"/>
              </a:rPr>
              <a:t>Capacity building activities</a:t>
            </a:r>
            <a:endParaRPr lang="en-US" sz="40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  <a:sym typeface="Arial" pitchFamily="34" charset="0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46814" y="1857754"/>
            <a:ext cx="4947994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4 Set of Guidelines </a:t>
            </a: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Policy </a:t>
            </a: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Makers </a:t>
            </a:r>
            <a:endParaRPr lang="en-US" sz="24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Children </a:t>
            </a: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Educators, Parents and Guardians</a:t>
            </a:r>
          </a:p>
          <a:p>
            <a:pPr marL="342900" indent="-342900">
              <a:buFontTx/>
              <a:buChar char="-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Industry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13" t="7880" r="23544" b="25889"/>
          <a:stretch/>
        </p:blipFill>
        <p:spPr bwMode="auto">
          <a:xfrm>
            <a:off x="5211220" y="1751165"/>
            <a:ext cx="1779641" cy="1368152"/>
          </a:xfrm>
          <a:prstGeom prst="rect">
            <a:avLst/>
          </a:prstGeom>
          <a:noFill/>
          <a:ln w="9525">
            <a:solidFill>
              <a:srgbClr val="4C6ECC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92" t="13239" r="18658" b="8000"/>
          <a:stretch/>
        </p:blipFill>
        <p:spPr bwMode="auto">
          <a:xfrm>
            <a:off x="5189880" y="4886606"/>
            <a:ext cx="1826989" cy="1392006"/>
          </a:xfrm>
          <a:prstGeom prst="rect">
            <a:avLst/>
          </a:prstGeom>
          <a:noFill/>
          <a:ln w="9525">
            <a:solidFill>
              <a:srgbClr val="4C6ECC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03" t="13254" r="18284" b="7403"/>
          <a:stretch/>
        </p:blipFill>
        <p:spPr bwMode="auto">
          <a:xfrm>
            <a:off x="5164406" y="3289396"/>
            <a:ext cx="1809368" cy="1384370"/>
          </a:xfrm>
          <a:prstGeom prst="rect">
            <a:avLst/>
          </a:prstGeom>
          <a:noFill/>
          <a:ln w="9525">
            <a:solidFill>
              <a:srgbClr val="4C6ECC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20" t="13707" r="18794" b="7448"/>
          <a:stretch/>
        </p:blipFill>
        <p:spPr bwMode="auto">
          <a:xfrm>
            <a:off x="7207272" y="3289397"/>
            <a:ext cx="1829223" cy="1384369"/>
          </a:xfrm>
          <a:prstGeom prst="rect">
            <a:avLst/>
          </a:prstGeom>
          <a:noFill/>
          <a:ln w="9525">
            <a:solidFill>
              <a:srgbClr val="4C6ECC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40" t="8452" r="18535" b="13000"/>
          <a:stretch/>
        </p:blipFill>
        <p:spPr bwMode="auto">
          <a:xfrm>
            <a:off x="7209506" y="4910460"/>
            <a:ext cx="1826989" cy="1368152"/>
          </a:xfrm>
          <a:prstGeom prst="rect">
            <a:avLst/>
          </a:prstGeom>
          <a:noFill/>
          <a:ln w="9525">
            <a:solidFill>
              <a:srgbClr val="4C6ECC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7273" y="1784420"/>
            <a:ext cx="1829223" cy="1368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0" y="3842769"/>
            <a:ext cx="493090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eaLnBrk="0" hangingPunct="0">
              <a:spcBef>
                <a:spcPct val="20000"/>
              </a:spcBef>
              <a:buSzPct val="110000"/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eveloped in cooperation with COP </a:t>
            </a: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partners</a:t>
            </a:r>
            <a:r>
              <a:rPr lang="en-US" kern="0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 </a:t>
            </a:r>
            <a:endParaRPr lang="en-US" sz="2000" dirty="0"/>
          </a:p>
        </p:txBody>
      </p:sp>
      <p:sp>
        <p:nvSpPr>
          <p:cNvPr id="12" name="Rectangle 11"/>
          <p:cNvSpPr/>
          <p:nvPr/>
        </p:nvSpPr>
        <p:spPr>
          <a:xfrm>
            <a:off x="35496" y="4616404"/>
            <a:ext cx="4930908" cy="589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eaLnBrk="0" hangingPunct="0">
              <a:lnSpc>
                <a:spcPct val="150000"/>
              </a:lnSpc>
              <a:spcBef>
                <a:spcPct val="20000"/>
              </a:spcBef>
              <a:buSzPct val="110000"/>
              <a:buFont typeface="Wingdings" panose="05000000000000000000" pitchFamily="2" charset="2"/>
              <a:buChar char="q"/>
            </a:pPr>
            <a:r>
              <a:rPr lang="en-US" sz="24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Available in the six UN language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6741" y="5490611"/>
            <a:ext cx="5471363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eaLnBrk="0" hangingPunct="0">
              <a:spcBef>
                <a:spcPct val="20000"/>
              </a:spcBef>
              <a:buSzPct val="110000"/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Updated version for Industry </a:t>
            </a:r>
          </a:p>
          <a:p>
            <a:pPr algn="just" eaLnBrk="0" hangingPunct="0">
              <a:spcBef>
                <a:spcPct val="20000"/>
              </a:spcBef>
              <a:buSzPct val="110000"/>
            </a:pP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launched jointly with UNICEF in 2014</a:t>
            </a:r>
            <a:endParaRPr lang="en-US" sz="24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017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 bwMode="auto">
          <a:xfrm>
            <a:off x="761814" y="2538007"/>
            <a:ext cx="1484503" cy="858295"/>
          </a:xfrm>
          <a:prstGeom prst="roundRect">
            <a:avLst/>
          </a:prstGeom>
          <a:solidFill>
            <a:srgbClr val="DF332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Policies and management processes 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3" name="Rounded Rectangle 12"/>
          <p:cNvSpPr/>
          <p:nvPr/>
        </p:nvSpPr>
        <p:spPr bwMode="auto">
          <a:xfrm>
            <a:off x="2330483" y="2516586"/>
            <a:ext cx="1484503" cy="883648"/>
          </a:xfrm>
          <a:prstGeom prst="roundRect">
            <a:avLst/>
          </a:prstGeom>
          <a:solidFill>
            <a:schemeClr val="tx2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</a:rPr>
              <a:t>C</a:t>
            </a:r>
            <a:r>
              <a:rPr lang="en-US" sz="1600" b="1" dirty="0" smtClean="0">
                <a:solidFill>
                  <a:schemeClr val="bg1"/>
                </a:solidFill>
              </a:rPr>
              <a:t>hild sexual abuse content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4" name="Rounded Rectangle 13"/>
          <p:cNvSpPr/>
          <p:nvPr/>
        </p:nvSpPr>
        <p:spPr bwMode="auto">
          <a:xfrm>
            <a:off x="3905753" y="2553251"/>
            <a:ext cx="1484503" cy="883648"/>
          </a:xfrm>
          <a:prstGeom prst="roundRect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Safer and age appropriate environment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5534856" y="2538007"/>
            <a:ext cx="1484503" cy="883648"/>
          </a:xfrm>
          <a:prstGeom prst="roundRect">
            <a:avLst/>
          </a:prstGeom>
          <a:solidFill>
            <a:srgbClr val="00B0F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</a:rPr>
              <a:t>Educate </a:t>
            </a:r>
            <a:r>
              <a:rPr lang="en-US" sz="1600" b="1" dirty="0" smtClean="0">
                <a:solidFill>
                  <a:schemeClr val="bg1"/>
                </a:solidFill>
              </a:rPr>
              <a:t>children</a:t>
            </a:r>
            <a:r>
              <a:rPr lang="en-US" sz="1600" b="1" dirty="0">
                <a:solidFill>
                  <a:schemeClr val="bg1"/>
                </a:solidFill>
              </a:rPr>
              <a:t>, parents and teachers</a:t>
            </a:r>
          </a:p>
        </p:txBody>
      </p:sp>
      <p:sp>
        <p:nvSpPr>
          <p:cNvPr id="16" name="Rounded Rectangle 15"/>
          <p:cNvSpPr/>
          <p:nvPr/>
        </p:nvSpPr>
        <p:spPr bwMode="auto">
          <a:xfrm>
            <a:off x="7141192" y="2525331"/>
            <a:ext cx="1484503" cy="883648"/>
          </a:xfrm>
          <a:prstGeom prst="roundRect">
            <a:avLst/>
          </a:prstGeom>
          <a:solidFill>
            <a:srgbClr val="7030A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>
                <a:solidFill>
                  <a:schemeClr val="bg1"/>
                </a:solidFill>
              </a:rPr>
              <a:t>Promote positive use of ICTS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639846" y="1874609"/>
            <a:ext cx="8016315" cy="59179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i="1" dirty="0" smtClean="0">
                <a:solidFill>
                  <a:schemeClr val="bg1">
                    <a:lumMod val="50000"/>
                  </a:schemeClr>
                </a:solidFill>
              </a:rPr>
              <a:t>Structure</a:t>
            </a:r>
            <a:endParaRPr lang="en-US" dirty="0"/>
          </a:p>
        </p:txBody>
      </p:sp>
      <p:sp>
        <p:nvSpPr>
          <p:cNvPr id="18" name="Rounded Rectangle 17"/>
          <p:cNvSpPr/>
          <p:nvPr/>
        </p:nvSpPr>
        <p:spPr>
          <a:xfrm>
            <a:off x="363791" y="1844824"/>
            <a:ext cx="8399999" cy="1776683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/>
          </a:p>
        </p:txBody>
      </p:sp>
      <p:sp>
        <p:nvSpPr>
          <p:cNvPr id="22" name="Rounded Rectangle 21"/>
          <p:cNvSpPr/>
          <p:nvPr/>
        </p:nvSpPr>
        <p:spPr>
          <a:xfrm>
            <a:off x="363791" y="4121996"/>
            <a:ext cx="8399999" cy="2282436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/>
          </a:p>
        </p:txBody>
      </p:sp>
      <p:sp>
        <p:nvSpPr>
          <p:cNvPr id="23" name="TextBox 22"/>
          <p:cNvSpPr txBox="1"/>
          <p:nvPr/>
        </p:nvSpPr>
        <p:spPr>
          <a:xfrm>
            <a:off x="761814" y="4074541"/>
            <a:ext cx="29530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i="1" dirty="0">
                <a:solidFill>
                  <a:schemeClr val="bg1">
                    <a:lumMod val="50000"/>
                  </a:schemeClr>
                </a:solidFill>
              </a:rPr>
              <a:t>Sub-sector check lists</a:t>
            </a:r>
          </a:p>
        </p:txBody>
      </p:sp>
      <p:sp>
        <p:nvSpPr>
          <p:cNvPr id="25" name="Rounded Rectangle 24"/>
          <p:cNvSpPr/>
          <p:nvPr/>
        </p:nvSpPr>
        <p:spPr bwMode="auto">
          <a:xfrm>
            <a:off x="838200" y="4544639"/>
            <a:ext cx="1524000" cy="8582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Mobile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operators</a:t>
            </a:r>
          </a:p>
        </p:txBody>
      </p:sp>
      <p:sp>
        <p:nvSpPr>
          <p:cNvPr id="26" name="Rounded Rectangle 25"/>
          <p:cNvSpPr/>
          <p:nvPr/>
        </p:nvSpPr>
        <p:spPr bwMode="auto">
          <a:xfrm>
            <a:off x="4066916" y="4544641"/>
            <a:ext cx="1524000" cy="8582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ISP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7" name="Rounded Rectangle 26"/>
          <p:cNvSpPr/>
          <p:nvPr/>
        </p:nvSpPr>
        <p:spPr bwMode="auto">
          <a:xfrm>
            <a:off x="7037343" y="4544640"/>
            <a:ext cx="1524000" cy="8582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 smtClean="0">
                <a:solidFill>
                  <a:schemeClr val="bg1"/>
                </a:solidFill>
              </a:rPr>
              <a:t>Content providers, online retailers, app developers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838200" y="5517233"/>
            <a:ext cx="1524000" cy="8582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Social media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9" name="Rounded Rectangle 28"/>
          <p:cNvSpPr/>
          <p:nvPr/>
        </p:nvSpPr>
        <p:spPr bwMode="auto">
          <a:xfrm>
            <a:off x="7037343" y="5517232"/>
            <a:ext cx="1524000" cy="8582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Hardware manufacturer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ounded Rectangle 18"/>
          <p:cNvSpPr/>
          <p:nvPr/>
        </p:nvSpPr>
        <p:spPr bwMode="auto">
          <a:xfrm>
            <a:off x="4026622" y="5546136"/>
            <a:ext cx="1524000" cy="858295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</a:rPr>
              <a:t>Internet access in public place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16622" y="48799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kern="0" dirty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ITU &amp; UNICEF new version of the Guidelines for Industry</a:t>
            </a:r>
          </a:p>
        </p:txBody>
      </p:sp>
    </p:spTree>
    <p:extLst>
      <p:ext uri="{BB962C8B-B14F-4D97-AF65-F5344CB8AC3E}">
        <p14:creationId xmlns:p14="http://schemas.microsoft.com/office/powerpoint/2010/main" val="235822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Content Placeholder 2"/>
          <p:cNvSpPr txBox="1">
            <a:spLocks/>
          </p:cNvSpPr>
          <p:nvPr/>
        </p:nvSpPr>
        <p:spPr>
          <a:xfrm>
            <a:off x="381000" y="927543"/>
            <a:ext cx="8229600" cy="79208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24" name="TextBox 23"/>
          <p:cNvSpPr txBox="1"/>
          <p:nvPr/>
        </p:nvSpPr>
        <p:spPr>
          <a:xfrm>
            <a:off x="5364088" y="2772936"/>
            <a:ext cx="3600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kern="0" dirty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Online Platform </a:t>
            </a:r>
            <a:endParaRPr lang="en-US" sz="3600" b="1" kern="0" dirty="0" smtClean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  <a:p>
            <a:r>
              <a:rPr lang="en-US" sz="36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of </a:t>
            </a:r>
            <a:r>
              <a:rPr lang="en-US" sz="3600" b="1" kern="0" dirty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Case Studies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92" y="758104"/>
            <a:ext cx="4731048" cy="4142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76" y="4879401"/>
            <a:ext cx="4809412" cy="2077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0428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>
            <a:spLocks noChangeArrowheads="1"/>
          </p:cNvSpPr>
          <p:nvPr/>
        </p:nvSpPr>
        <p:spPr bwMode="auto">
          <a:xfrm>
            <a:off x="266700" y="564336"/>
            <a:ext cx="9144000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r>
              <a:rPr lang="en-US" sz="40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  <a:sym typeface="Arial" pitchFamily="34" charset="0"/>
              </a:rPr>
              <a:t>Capacity building activities</a:t>
            </a:r>
            <a:endParaRPr lang="en-US" sz="40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  <a:sym typeface="Arial" pitchFamily="34" charset="0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162371" y="2959908"/>
            <a:ext cx="3934511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pPr marL="571500" indent="-571500">
              <a:buFont typeface="Wingdings" panose="05000000000000000000" pitchFamily="2" charset="2"/>
              <a:buChar char="q"/>
            </a:pPr>
            <a:r>
              <a:rPr lang="en-US" sz="3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Establishing national strategies with COP Partners</a:t>
            </a:r>
            <a:endParaRPr lang="en-US" sz="32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</p:txBody>
      </p:sp>
      <p:sp>
        <p:nvSpPr>
          <p:cNvPr id="13" name="Rectangle 42"/>
          <p:cNvSpPr>
            <a:spLocks noChangeArrowheads="1"/>
          </p:cNvSpPr>
          <p:nvPr/>
        </p:nvSpPr>
        <p:spPr bwMode="auto">
          <a:xfrm>
            <a:off x="7253873" y="2779686"/>
            <a:ext cx="1734216" cy="3384790"/>
          </a:xfrm>
          <a:prstGeom prst="rect">
            <a:avLst/>
          </a:prstGeom>
          <a:solidFill>
            <a:srgbClr val="00486C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3200"/>
          </a:p>
        </p:txBody>
      </p:sp>
      <p:sp>
        <p:nvSpPr>
          <p:cNvPr id="15" name="Rectangle 41"/>
          <p:cNvSpPr>
            <a:spLocks noChangeArrowheads="1"/>
          </p:cNvSpPr>
          <p:nvPr/>
        </p:nvSpPr>
        <p:spPr bwMode="auto">
          <a:xfrm>
            <a:off x="4333644" y="2778350"/>
            <a:ext cx="1483137" cy="3386954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3200"/>
          </a:p>
        </p:txBody>
      </p:sp>
      <p:sp>
        <p:nvSpPr>
          <p:cNvPr id="16" name="Rectangle 42"/>
          <p:cNvSpPr>
            <a:spLocks noChangeArrowheads="1"/>
          </p:cNvSpPr>
          <p:nvPr/>
        </p:nvSpPr>
        <p:spPr bwMode="auto">
          <a:xfrm>
            <a:off x="5762744" y="2778350"/>
            <a:ext cx="1485949" cy="3386078"/>
          </a:xfrm>
          <a:prstGeom prst="rect">
            <a:avLst/>
          </a:prstGeom>
          <a:solidFill>
            <a:srgbClr val="006699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3200"/>
          </a:p>
        </p:txBody>
      </p:sp>
      <p:sp>
        <p:nvSpPr>
          <p:cNvPr id="17" name="Text Box 52"/>
          <p:cNvSpPr txBox="1">
            <a:spLocks noChangeArrowheads="1"/>
          </p:cNvSpPr>
          <p:nvPr/>
        </p:nvSpPr>
        <p:spPr bwMode="auto">
          <a:xfrm>
            <a:off x="4568547" y="2103096"/>
            <a:ext cx="151216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latinLnBrk="0" hangingPunct="0"/>
            <a:r>
              <a:rPr lang="en-US" altLang="ko-KR" sz="2000" b="1" dirty="0" smtClean="0">
                <a:solidFill>
                  <a:srgbClr val="002060"/>
                </a:solidFill>
                <a:latin typeface="Arial" pitchFamily="34" charset="0"/>
                <a:ea typeface="견고딕" pitchFamily="18" charset="-127"/>
                <a:cs typeface="Arial" pitchFamily="34" charset="0"/>
              </a:rPr>
              <a:t>           2012</a:t>
            </a:r>
            <a:r>
              <a:rPr lang="en-US" altLang="ko-KR" sz="2000" dirty="0" smtClean="0">
                <a:solidFill>
                  <a:srgbClr val="002060"/>
                </a:solidFill>
                <a:latin typeface="Arial" pitchFamily="34" charset="0"/>
                <a:ea typeface="견고딕" pitchFamily="18" charset="-127"/>
                <a:cs typeface="Arial" pitchFamily="34" charset="0"/>
              </a:rPr>
              <a:t> </a:t>
            </a:r>
            <a:endParaRPr lang="en-US" altLang="ko-KR" sz="2800" dirty="0">
              <a:solidFill>
                <a:srgbClr val="002060"/>
              </a:solidFill>
              <a:latin typeface="Arial" pitchFamily="34" charset="0"/>
              <a:ea typeface="견고딕" pitchFamily="18" charset="-127"/>
              <a:cs typeface="Arial" pitchFamily="34" charset="0"/>
            </a:endParaRPr>
          </a:p>
        </p:txBody>
      </p:sp>
      <p:sp>
        <p:nvSpPr>
          <p:cNvPr id="18" name="Text Box 71"/>
          <p:cNvSpPr txBox="1">
            <a:spLocks noChangeArrowheads="1"/>
          </p:cNvSpPr>
          <p:nvPr/>
        </p:nvSpPr>
        <p:spPr bwMode="auto">
          <a:xfrm>
            <a:off x="7319654" y="3979366"/>
            <a:ext cx="207688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88900" indent="-88900">
              <a:lnSpc>
                <a:spcPct val="150000"/>
              </a:lnSpc>
              <a:buFontTx/>
              <a:buChar char="•"/>
            </a:pP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Batang" pitchFamily="18" charset="-127"/>
              </a:rPr>
              <a:t> Zambia</a:t>
            </a:r>
          </a:p>
          <a:p>
            <a:pPr marL="88900" indent="-88900">
              <a:lnSpc>
                <a:spcPct val="150000"/>
              </a:lnSpc>
              <a:buFontTx/>
              <a:buChar char="•"/>
            </a:pP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Batang" pitchFamily="18" charset="-127"/>
              </a:rPr>
              <a:t>Bahrain</a:t>
            </a:r>
          </a:p>
        </p:txBody>
      </p:sp>
      <p:sp>
        <p:nvSpPr>
          <p:cNvPr id="19" name="Text Box 72"/>
          <p:cNvSpPr txBox="1">
            <a:spLocks noChangeArrowheads="1"/>
          </p:cNvSpPr>
          <p:nvPr/>
        </p:nvSpPr>
        <p:spPr bwMode="auto">
          <a:xfrm>
            <a:off x="4255144" y="3744739"/>
            <a:ext cx="1750298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b="1" dirty="0" smtClean="0">
                <a:solidFill>
                  <a:srgbClr val="00386B"/>
                </a:solidFill>
                <a:latin typeface="Arial" pitchFamily="34" charset="0"/>
                <a:ea typeface="HY헤드라인M" pitchFamily="18" charset="-127"/>
              </a:rPr>
              <a:t>  Brunei Darussalam</a:t>
            </a:r>
            <a:endParaRPr lang="en-US" altLang="ko-KR" b="1" dirty="0">
              <a:solidFill>
                <a:srgbClr val="000066"/>
              </a:solidFill>
              <a:latin typeface="Arial" pitchFamily="34" charset="0"/>
              <a:ea typeface="HY헤드라인M" pitchFamily="18" charset="-127"/>
            </a:endParaRPr>
          </a:p>
        </p:txBody>
      </p:sp>
      <p:sp>
        <p:nvSpPr>
          <p:cNvPr id="20" name="Text Box 73"/>
          <p:cNvSpPr txBox="1">
            <a:spLocks noChangeArrowheads="1"/>
          </p:cNvSpPr>
          <p:nvPr/>
        </p:nvSpPr>
        <p:spPr bwMode="auto">
          <a:xfrm>
            <a:off x="5576895" y="3744739"/>
            <a:ext cx="2130798" cy="2585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buFontTx/>
              <a:buChar char="•"/>
            </a:pPr>
            <a:r>
              <a:rPr lang="en-US" altLang="ko-KR" sz="1800" b="1" dirty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</a:t>
            </a:r>
            <a:r>
              <a:rPr lang="en-US" altLang="ko-KR" sz="1800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</a:t>
            </a: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Cameroon</a:t>
            </a:r>
          </a:p>
          <a:p>
            <a:pPr>
              <a:lnSpc>
                <a:spcPct val="150000"/>
              </a:lnSpc>
              <a:buFontTx/>
              <a:buChar char="•"/>
            </a:pP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 Ghana</a:t>
            </a:r>
          </a:p>
          <a:p>
            <a:pPr>
              <a:lnSpc>
                <a:spcPct val="150000"/>
              </a:lnSpc>
              <a:buFontTx/>
              <a:buChar char="•"/>
            </a:pP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 Mauritius </a:t>
            </a:r>
          </a:p>
          <a:p>
            <a:pPr>
              <a:lnSpc>
                <a:spcPct val="150000"/>
              </a:lnSpc>
              <a:buFontTx/>
              <a:buChar char="•"/>
            </a:pPr>
            <a:r>
              <a:rPr lang="en-US" altLang="ko-KR" b="1" dirty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</a:t>
            </a: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Sierra Leone </a:t>
            </a:r>
          </a:p>
          <a:p>
            <a:pPr>
              <a:lnSpc>
                <a:spcPct val="150000"/>
              </a:lnSpc>
              <a:buFontTx/>
              <a:buChar char="•"/>
            </a:pP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 Gambia </a:t>
            </a:r>
          </a:p>
          <a:p>
            <a:pPr>
              <a:lnSpc>
                <a:spcPct val="150000"/>
              </a:lnSpc>
              <a:buFontTx/>
              <a:buChar char="•"/>
            </a:pPr>
            <a:r>
              <a:rPr lang="en-US" altLang="ko-KR" b="1" dirty="0" smtClean="0">
                <a:solidFill>
                  <a:schemeClr val="bg1"/>
                </a:solidFill>
                <a:latin typeface="Arial" pitchFamily="34" charset="0"/>
                <a:ea typeface="HY헤드라인M" pitchFamily="18" charset="-127"/>
              </a:rPr>
              <a:t>  Oman </a:t>
            </a:r>
            <a:endParaRPr lang="en-US" altLang="ko-KR" sz="1800" b="1" dirty="0">
              <a:solidFill>
                <a:srgbClr val="FFFFFF"/>
              </a:solidFill>
              <a:latin typeface="Arial" pitchFamily="34" charset="0"/>
              <a:ea typeface="HY헤드라인M" pitchFamily="18" charset="-127"/>
            </a:endParaRPr>
          </a:p>
        </p:txBody>
      </p:sp>
      <p:sp>
        <p:nvSpPr>
          <p:cNvPr id="21" name="Text Box 52"/>
          <p:cNvSpPr txBox="1">
            <a:spLocks noChangeArrowheads="1"/>
          </p:cNvSpPr>
          <p:nvPr/>
        </p:nvSpPr>
        <p:spPr bwMode="auto">
          <a:xfrm>
            <a:off x="5534747" y="2316017"/>
            <a:ext cx="18722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latinLnBrk="0" hangingPunct="0"/>
            <a:r>
              <a:rPr lang="en-US" altLang="ko-KR" sz="2000" b="1" dirty="0" smtClean="0">
                <a:solidFill>
                  <a:srgbClr val="003366"/>
                </a:solidFill>
                <a:latin typeface="Arial" pitchFamily="34" charset="0"/>
                <a:ea typeface="견고딕" pitchFamily="18" charset="-127"/>
                <a:cs typeface="Arial" pitchFamily="34" charset="0"/>
              </a:rPr>
              <a:t>2013</a:t>
            </a:r>
            <a:r>
              <a:rPr lang="en-US" altLang="ko-KR" sz="2400" dirty="0" smtClean="0">
                <a:solidFill>
                  <a:srgbClr val="003366"/>
                </a:solidFill>
                <a:latin typeface="Arial" pitchFamily="34" charset="0"/>
                <a:ea typeface="견고딕" pitchFamily="18" charset="-127"/>
                <a:cs typeface="Arial" pitchFamily="34" charset="0"/>
              </a:rPr>
              <a:t> </a:t>
            </a:r>
            <a:endParaRPr lang="en-US" altLang="ko-KR" sz="3200" dirty="0">
              <a:solidFill>
                <a:srgbClr val="003366"/>
              </a:solidFill>
              <a:latin typeface="Arial" pitchFamily="34" charset="0"/>
              <a:ea typeface="견고딕" pitchFamily="18" charset="-127"/>
              <a:cs typeface="Arial" pitchFamily="34" charset="0"/>
            </a:endParaRPr>
          </a:p>
        </p:txBody>
      </p:sp>
      <p:sp>
        <p:nvSpPr>
          <p:cNvPr id="22" name="Text Box 52"/>
          <p:cNvSpPr txBox="1">
            <a:spLocks noChangeArrowheads="1"/>
          </p:cNvSpPr>
          <p:nvPr/>
        </p:nvSpPr>
        <p:spPr bwMode="auto">
          <a:xfrm>
            <a:off x="7115881" y="2342071"/>
            <a:ext cx="18722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eaLnBrk="0" latinLnBrk="0" hangingPunct="0"/>
            <a:r>
              <a:rPr lang="en-US" altLang="ko-KR" sz="2000" b="1" dirty="0" smtClean="0">
                <a:solidFill>
                  <a:srgbClr val="003366"/>
                </a:solidFill>
                <a:latin typeface="Arial" pitchFamily="34" charset="0"/>
                <a:ea typeface="견고딕" pitchFamily="18" charset="-127"/>
                <a:cs typeface="Arial" pitchFamily="34" charset="0"/>
              </a:rPr>
              <a:t>2014</a:t>
            </a:r>
            <a:r>
              <a:rPr lang="en-US" altLang="ko-KR" sz="2400" dirty="0" smtClean="0">
                <a:solidFill>
                  <a:srgbClr val="003366"/>
                </a:solidFill>
                <a:latin typeface="Arial" pitchFamily="34" charset="0"/>
                <a:ea typeface="견고딕" pitchFamily="18" charset="-127"/>
                <a:cs typeface="Arial" pitchFamily="34" charset="0"/>
              </a:rPr>
              <a:t> </a:t>
            </a:r>
            <a:endParaRPr lang="en-US" altLang="ko-KR" sz="3200" dirty="0">
              <a:solidFill>
                <a:srgbClr val="003366"/>
              </a:solidFill>
              <a:latin typeface="Arial" pitchFamily="34" charset="0"/>
              <a:ea typeface="견고딕" pitchFamily="18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4505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 rotWithShape="1">
          <a:blip r:embed="rId3" cstate="email"/>
          <a:srcRect t="8393"/>
          <a:stretch/>
        </p:blipFill>
        <p:spPr bwMode="auto">
          <a:xfrm>
            <a:off x="323528" y="3424732"/>
            <a:ext cx="2088232" cy="2187517"/>
          </a:xfrm>
          <a:prstGeom prst="rect">
            <a:avLst/>
          </a:prstGeom>
          <a:ln>
            <a:solidFill>
              <a:srgbClr val="4C6ECC"/>
            </a:solidFill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1"/>
          <a:stretch/>
        </p:blipFill>
        <p:spPr bwMode="auto">
          <a:xfrm>
            <a:off x="3140802" y="1916832"/>
            <a:ext cx="1584174" cy="229562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7220" y="3991350"/>
            <a:ext cx="1608763" cy="227497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4018" y="1814127"/>
            <a:ext cx="2016222" cy="113286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15922" y="5758492"/>
            <a:ext cx="26723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Run surveys with policy makers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816261" y="6358656"/>
            <a:ext cx="28803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Develop case studies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04048" y="3068020"/>
            <a:ext cx="41399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Share a platform of </a:t>
            </a: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country </a:t>
            </a:r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profi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979759" y="4284934"/>
            <a:ext cx="26723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Data collec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7373" y="516474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Capacity building activities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059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 txBox="1">
            <a:spLocks/>
          </p:cNvSpPr>
          <p:nvPr/>
        </p:nvSpPr>
        <p:spPr bwMode="auto">
          <a:xfrm>
            <a:off x="357780" y="145710"/>
            <a:ext cx="8504640" cy="5469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15000"/>
              </a:spcBef>
              <a:spcAft>
                <a:spcPct val="0"/>
              </a:spcAft>
              <a:buClr>
                <a:srgbClr val="17588A"/>
              </a:buClr>
              <a:buFont typeface="Arial" pitchFamily="34" charset="0"/>
              <a:buChar char=" "/>
              <a:defRPr sz="3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179388" indent="265113" algn="l" rtl="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ª"/>
              <a:defRPr sz="1600">
                <a:solidFill>
                  <a:schemeClr val="tx2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623888" indent="188913" algn="l" rtl="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tx2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992188" indent="176213" algn="l" rtl="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1347788" indent="176213" algn="l" rtl="0" eaLnBrk="0" fontAlgn="base" hangingPunct="0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1804988" indent="176213" algn="l" rtl="0" fontAlgn="base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62188" indent="176213" algn="l" rtl="0" fontAlgn="base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719388" indent="176213" algn="l" rtl="0" fontAlgn="base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176588" indent="176213" algn="l" rtl="0" fontAlgn="base">
              <a:spcBef>
                <a:spcPct val="15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•"/>
              <a:defRPr sz="14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dirty="0" smtClean="0">
                <a:solidFill>
                  <a:schemeClr val="bg1"/>
                </a:solidFill>
                <a:latin typeface="Calibri" pitchFamily="34" charset="0"/>
                <a:ea typeface="+mn-ea"/>
                <a:cs typeface="Calibri" pitchFamily="34" charset="0"/>
              </a:rPr>
              <a:t>ITU/ACOPEA Pan African E-Safety pilot program in Ethiopia</a:t>
            </a:r>
            <a:endParaRPr lang="en-US" sz="2400" b="1" dirty="0">
              <a:solidFill>
                <a:schemeClr val="bg1"/>
              </a:solidFill>
              <a:latin typeface="Calibri" pitchFamily="34" charset="0"/>
              <a:ea typeface="+mn-ea"/>
              <a:cs typeface="Calibri" pitchFamily="34" charset="0"/>
            </a:endParaRPr>
          </a:p>
          <a:p>
            <a:pPr marL="0" indent="0" algn="ctr">
              <a:buNone/>
            </a:pPr>
            <a:endParaRPr lang="en-US" dirty="0">
              <a:solidFill>
                <a:srgbClr val="0066CC"/>
              </a:solidFill>
              <a:latin typeface="Verdana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5451616" y="1614832"/>
            <a:ext cx="3188746" cy="1319025"/>
            <a:chOff x="5220072" y="3212976"/>
            <a:chExt cx="3704976" cy="1761894"/>
          </a:xfrm>
        </p:grpSpPr>
        <p:pic>
          <p:nvPicPr>
            <p:cNvPr id="2053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20072" y="3212976"/>
              <a:ext cx="1331664" cy="1761894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  <a:extLst/>
          </p:spPr>
        </p:pic>
        <p:pic>
          <p:nvPicPr>
            <p:cNvPr id="2055" name="Picture 7" descr="http://i.forbesimg.com/media/lists/companies/facebook_416x416.jpg">
              <a:hlinkClick r:id="rId4"/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872" b="20872"/>
            <a:stretch/>
          </p:blipFill>
          <p:spPr bwMode="auto">
            <a:xfrm>
              <a:off x="6548784" y="3385625"/>
              <a:ext cx="2376264" cy="1384300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  <a:extLst/>
          </p:spPr>
        </p:pic>
      </p:grpSp>
      <p:pic>
        <p:nvPicPr>
          <p:cNvPr id="2057" name="Picture 9" descr="http://www.itu.int/osg/csd/cybersecurity/gca/cop/images/logos/acopea.jpg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2332" y="3221942"/>
            <a:ext cx="2088030" cy="9704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TextBox 8"/>
          <p:cNvSpPr txBox="1"/>
          <p:nvPr/>
        </p:nvSpPr>
        <p:spPr>
          <a:xfrm>
            <a:off x="127373" y="516474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Capacity building activities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0" y="1531048"/>
            <a:ext cx="5198656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pPr marL="571500" indent="-571500">
              <a:buFont typeface="Wingdings" panose="05000000000000000000" pitchFamily="2" charset="2"/>
              <a:buChar char="q"/>
            </a:pP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Trainings for parents, teachers and children in Ethiopia in collaboration with Facebook and </a:t>
            </a:r>
            <a:r>
              <a:rPr lang="en-US" sz="28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Acopea</a:t>
            </a:r>
            <a:endParaRPr lang="en-US" sz="28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-51261" y="3379084"/>
            <a:ext cx="5198656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pPr marL="571500" indent="-571500">
              <a:buFont typeface="Wingdings" panose="05000000000000000000" pitchFamily="2" charset="2"/>
              <a:buChar char="q"/>
            </a:pP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Trainings for young children with the Walt Disney Company and UNICEF in Costa Rica</a:t>
            </a:r>
          </a:p>
          <a:p>
            <a:pPr marL="571500" indent="-571500">
              <a:buFont typeface="Wingdings" panose="05000000000000000000" pitchFamily="2" charset="2"/>
              <a:buChar char="q"/>
            </a:pP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COP Challenge and other games with COP Partners</a:t>
            </a:r>
            <a:endParaRPr lang="en-US" sz="28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1536" y="4915404"/>
            <a:ext cx="2049284" cy="765537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4808" y="4562177"/>
            <a:ext cx="2551181" cy="1164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88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85000" lnSpcReduction="20000"/>
          </a:bodyPr>
          <a:lstStyle/>
          <a:p>
            <a:fld id="{DDD2957A-38BF-4766-88FD-46AF2F4ED65D}" type="slidenum">
              <a:rPr lang="en-US" smtClean="0"/>
              <a:t>19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533400" y="1600200"/>
            <a:ext cx="8232648" cy="4495800"/>
          </a:xfrm>
        </p:spPr>
        <p:txBody>
          <a:bodyPr>
            <a:normAutofit fontScale="92500" lnSpcReduction="10000"/>
          </a:bodyPr>
          <a:lstStyle/>
          <a:p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The ITU-T </a:t>
            </a: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Joint Coordination Activity on Child Online Protection (</a:t>
            </a: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JCA-COP) was </a:t>
            </a: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established in April 2012 under ITU-T Study Group </a:t>
            </a: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17. the Group is co-chaired by UK and USA. The rationale of the Group is: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a. Ensure </a:t>
            </a: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information on COP activities are gathered</a:t>
            </a:r>
          </a:p>
          <a:p>
            <a:pPr marL="0" indent="0">
              <a:buNone/>
            </a:pP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b</a:t>
            </a: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Understand </a:t>
            </a: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what are the relevant stakeholders work and/or activities</a:t>
            </a:r>
          </a:p>
          <a:p>
            <a:pPr marL="0" indent="0">
              <a:buNone/>
            </a:pP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c</a:t>
            </a: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. Understand </a:t>
            </a: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the legal/regulatory environments related to COP</a:t>
            </a:r>
          </a:p>
          <a:p>
            <a:pPr marL="0" indent="0">
              <a:buNone/>
            </a:pPr>
            <a:r>
              <a:rPr lang="en-US" sz="28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. Identify </a:t>
            </a:r>
            <a:r>
              <a:rPr lang="en-US" sz="28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any principles underpinning the above COP activities</a:t>
            </a:r>
          </a:p>
          <a:p>
            <a:pPr marL="0" indent="0">
              <a:buNone/>
            </a:pPr>
            <a:endParaRPr lang="en-US" sz="28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476672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Technical Cooperation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8313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623" y="2052374"/>
            <a:ext cx="4945063" cy="2111954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88" y="1916832"/>
            <a:ext cx="3528392" cy="3360373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231788" y="6165304"/>
            <a:ext cx="4084473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hlinkClick r:id="rId5"/>
              </a:rPr>
              <a:t>*ITU MIS 201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356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67544" y="908720"/>
            <a:ext cx="5472608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2"/>
              </a:solidFill>
              <a:latin typeface="Calibri" pitchFamily="34" charset="0"/>
              <a:ea typeface="Gulim" pitchFamily="34" charset="-127"/>
              <a:cs typeface="Calibri" pitchFamily="34" charset="0"/>
            </a:endParaRP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tx2"/>
              </a:solidFill>
              <a:latin typeface="Calibri" pitchFamily="34" charset="0"/>
              <a:ea typeface="Gulim" pitchFamily="34" charset="-127"/>
              <a:cs typeface="Calibri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ITU works closely with the </a:t>
            </a:r>
            <a:r>
              <a:rPr lang="en-US" sz="2400" b="1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Internet Watch Foundation (IWF) </a:t>
            </a:r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to establish a </a:t>
            </a:r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hotlines</a:t>
            </a: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. The partnership </a:t>
            </a:r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drew on the expertise and resources of the IWF to establish efficient and cost effective methods of fighting against online child sexual abuse content. </a:t>
            </a:r>
          </a:p>
          <a:p>
            <a:pPr marL="342900" lvl="0" indent="-342900">
              <a:buFont typeface="Wingdings" panose="05000000000000000000" pitchFamily="2" charset="2"/>
              <a:buChar char="q"/>
            </a:pPr>
            <a:endParaRPr lang="en-US" sz="2400" dirty="0" smtClean="0">
              <a:solidFill>
                <a:schemeClr val="tx2"/>
              </a:solidFill>
              <a:latin typeface="Calibri" pitchFamily="34" charset="0"/>
              <a:ea typeface="Gulim" pitchFamily="34" charset="-127"/>
              <a:cs typeface="Calibri" pitchFamily="34" charset="0"/>
            </a:endParaRPr>
          </a:p>
          <a:p>
            <a:pPr marL="342900" lvl="0" indent="-342900">
              <a:buFont typeface="Wingdings" panose="05000000000000000000" pitchFamily="2" charset="2"/>
              <a:buChar char="q"/>
            </a:pP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ITU and </a:t>
            </a:r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Trend </a:t>
            </a:r>
            <a:r>
              <a:rPr lang="en-US" sz="2400" b="1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Micro</a:t>
            </a:r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 </a:t>
            </a: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agreed to establish </a:t>
            </a:r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a framework for collaboration in line with the mutual goal of creating a </a:t>
            </a:r>
            <a:r>
              <a:rPr lang="en-US" sz="2400" b="1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more secure and safer information society</a:t>
            </a:r>
            <a:r>
              <a:rPr lang="en-US" sz="2400" dirty="0">
                <a:solidFill>
                  <a:schemeClr val="tx2"/>
                </a:solidFill>
                <a:latin typeface="Calibri" pitchFamily="34" charset="0"/>
                <a:ea typeface="Gulim" pitchFamily="34" charset="-127"/>
                <a:cs typeface="Calibri" pitchFamily="34" charset="0"/>
              </a:rPr>
              <a:t>. </a:t>
            </a:r>
          </a:p>
          <a:p>
            <a:pPr marL="457200" lvl="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accent4">
                  <a:lumMod val="50000"/>
                </a:schemeClr>
              </a:solidFill>
              <a:latin typeface="Calibri" pitchFamily="34" charset="0"/>
              <a:ea typeface="Gulim" pitchFamily="34" charset="-127"/>
              <a:cs typeface="Calibri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8296" y="1653819"/>
            <a:ext cx="1008112" cy="100811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180" y="1606830"/>
            <a:ext cx="936104" cy="10551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2180" y="4509120"/>
            <a:ext cx="936104" cy="1055101"/>
          </a:xfrm>
          <a:prstGeom prst="rect">
            <a:avLst/>
          </a:prstGeom>
        </p:spPr>
      </p:pic>
      <p:pic>
        <p:nvPicPr>
          <p:cNvPr id="1026" name="Picture 2" descr="LOGO_TM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3612" y="4730283"/>
            <a:ext cx="1181100" cy="1552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71314" y="409391"/>
            <a:ext cx="76328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kern="0" dirty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Joining forces with other organizations</a:t>
            </a:r>
          </a:p>
        </p:txBody>
      </p:sp>
    </p:spTree>
    <p:extLst>
      <p:ext uri="{BB962C8B-B14F-4D97-AF65-F5344CB8AC3E}">
        <p14:creationId xmlns:p14="http://schemas.microsoft.com/office/powerpoint/2010/main" val="16009005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>
            <a:normAutofit fontScale="85000" lnSpcReduction="20000"/>
          </a:bodyPr>
          <a:lstStyle/>
          <a:p>
            <a:pPr>
              <a:defRPr/>
            </a:pPr>
            <a:fld id="{B0D5B1D2-8069-4498-9CE8-295D967B4C30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33400" y="476672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International Cooperation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4" name="Rectangle 5"/>
          <p:cNvSpPr>
            <a:spLocks noChangeArrowheads="1"/>
          </p:cNvSpPr>
          <p:nvPr/>
        </p:nvSpPr>
        <p:spPr bwMode="auto">
          <a:xfrm>
            <a:off x="73846" y="1646059"/>
            <a:ext cx="709228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pPr marL="571500" indent="-571500">
              <a:buFont typeface="Wingdings" panose="05000000000000000000" pitchFamily="2" charset="2"/>
              <a:buChar char="q"/>
            </a:pPr>
            <a:r>
              <a:rPr lang="en-US" sz="3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Council </a:t>
            </a:r>
            <a:r>
              <a:rPr lang="en-US" sz="3200" dirty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Working Group(CWG) on COP</a:t>
            </a:r>
          </a:p>
          <a:p>
            <a:endParaRPr lang="en-US" sz="32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9726" y="2268026"/>
            <a:ext cx="893676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FontTx/>
              <a:buChar char="-"/>
            </a:pPr>
            <a:r>
              <a:rPr lang="en-US" sz="2400" dirty="0" smtClean="0">
                <a:solidFill>
                  <a:schemeClr val="tx2"/>
                </a:solidFill>
              </a:rPr>
              <a:t>Platform </a:t>
            </a:r>
            <a:r>
              <a:rPr lang="en-US" sz="2400" dirty="0">
                <a:solidFill>
                  <a:schemeClr val="tx2"/>
                </a:solidFill>
              </a:rPr>
              <a:t>which facilitates the membership's input and guidance on ITU's role in child online protection. 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342900" lvl="0" indent="-342900" algn="just">
              <a:buFontTx/>
              <a:buChar char="-"/>
            </a:pPr>
            <a:r>
              <a:rPr lang="en-US" sz="2400" dirty="0" smtClean="0">
                <a:solidFill>
                  <a:schemeClr val="tx2"/>
                </a:solidFill>
              </a:rPr>
              <a:t>The Plenipotentiary </a:t>
            </a:r>
            <a:r>
              <a:rPr lang="en-US" sz="2400" dirty="0">
                <a:solidFill>
                  <a:schemeClr val="tx2"/>
                </a:solidFill>
              </a:rPr>
              <a:t>Conference, held in Busan in 2014, made some important amendments: 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</a:pPr>
            <a:r>
              <a:rPr lang="en-US" sz="2400" dirty="0">
                <a:solidFill>
                  <a:schemeClr val="tx2"/>
                </a:solidFill>
              </a:rPr>
              <a:t>participation in the Group meetings will be open to all stakeholders (both ITU members and non-members</a:t>
            </a:r>
            <a:r>
              <a:rPr lang="en-US" sz="2400" dirty="0" smtClean="0">
                <a:solidFill>
                  <a:schemeClr val="tx2"/>
                </a:solidFill>
              </a:rPr>
              <a:t>);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</a:pPr>
            <a:r>
              <a:rPr lang="en-US" sz="2400" dirty="0" smtClean="0">
                <a:solidFill>
                  <a:schemeClr val="tx2"/>
                </a:solidFill>
              </a:rPr>
              <a:t>all </a:t>
            </a:r>
            <a:r>
              <a:rPr lang="en-US" sz="2400" dirty="0">
                <a:solidFill>
                  <a:schemeClr val="tx2"/>
                </a:solidFill>
              </a:rPr>
              <a:t>documentation will be publicly available without password protection; </a:t>
            </a:r>
            <a:r>
              <a:rPr lang="en-US" sz="2400" dirty="0" smtClean="0">
                <a:solidFill>
                  <a:schemeClr val="tx2"/>
                </a:solidFill>
              </a:rPr>
              <a:t>and</a:t>
            </a:r>
          </a:p>
          <a:p>
            <a:pPr marL="285750" lvl="0" indent="-285750" algn="just">
              <a:buFont typeface="Wingdings" panose="05000000000000000000" pitchFamily="2" charset="2"/>
              <a:buChar char="v"/>
            </a:pPr>
            <a:r>
              <a:rPr lang="en-US" sz="2400" dirty="0" smtClean="0">
                <a:solidFill>
                  <a:schemeClr val="tx2"/>
                </a:solidFill>
              </a:rPr>
              <a:t>conduct </a:t>
            </a:r>
            <a:r>
              <a:rPr lang="en-US" sz="2400" dirty="0">
                <a:solidFill>
                  <a:schemeClr val="tx2"/>
                </a:solidFill>
              </a:rPr>
              <a:t>one-day online consultations for youth, prior to its meetings. This will allow the Group to be more inclusive and ever-more agile in responding to current and emerging technical and policy needs. </a:t>
            </a:r>
          </a:p>
        </p:txBody>
      </p:sp>
    </p:spTree>
    <p:extLst>
      <p:ext uri="{BB962C8B-B14F-4D97-AF65-F5344CB8AC3E}">
        <p14:creationId xmlns:p14="http://schemas.microsoft.com/office/powerpoint/2010/main" val="1104064953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395536" y="1988840"/>
            <a:ext cx="8562752" cy="1539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</a:pPr>
            <a:endParaRPr lang="en-US" sz="24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algn="ctr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</a:pPr>
            <a:endParaRPr lang="en-US" sz="24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33400" y="476672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International Cooperation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140475" y="1259468"/>
            <a:ext cx="9072873" cy="674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pPr marL="571500" indent="-571500">
              <a:buFont typeface="Wingdings" panose="05000000000000000000" pitchFamily="2" charset="2"/>
              <a:buChar char="q"/>
            </a:pPr>
            <a:r>
              <a:rPr lang="en-US" sz="32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  <a:sym typeface="Arial" pitchFamily="34" charset="0"/>
              </a:rPr>
              <a:t>WSIS+10 High Level Event</a:t>
            </a:r>
          </a:p>
          <a:p>
            <a:r>
              <a:rPr lang="en-US" sz="2400" dirty="0" smtClean="0">
                <a:solidFill>
                  <a:schemeClr val="tx2"/>
                </a:solidFill>
              </a:rPr>
              <a:t>- </a:t>
            </a:r>
            <a:r>
              <a:rPr lang="en-US" sz="2400" dirty="0">
                <a:solidFill>
                  <a:schemeClr val="tx2"/>
                </a:solidFill>
              </a:rPr>
              <a:t>The WSIS+10 High-Level </a:t>
            </a:r>
            <a:r>
              <a:rPr lang="en-US" sz="2400" dirty="0" smtClean="0">
                <a:solidFill>
                  <a:schemeClr val="tx2"/>
                </a:solidFill>
              </a:rPr>
              <a:t>Event, held in June 2014, </a:t>
            </a:r>
            <a:r>
              <a:rPr lang="en-US" sz="2400" dirty="0">
                <a:solidFill>
                  <a:schemeClr val="tx2"/>
                </a:solidFill>
              </a:rPr>
              <a:t>was an extended version of the WSIS Forum to address the progress made in the implementation of the WSIS outcomes related to the WSIS Action Lines, while providing a platform for multistakeholder coordination of the implementation of the WSIS outcomes.</a:t>
            </a:r>
          </a:p>
          <a:p>
            <a:r>
              <a:rPr lang="en-US" sz="2400" dirty="0">
                <a:solidFill>
                  <a:schemeClr val="tx2"/>
                </a:solidFill>
              </a:rPr>
              <a:t>- The WSIS+10 High Level Event Outcome Documents revised the text of the </a:t>
            </a:r>
            <a:r>
              <a:rPr lang="en-US" sz="2400" i="1" dirty="0">
                <a:solidFill>
                  <a:schemeClr val="tx2"/>
                </a:solidFill>
              </a:rPr>
              <a:t>Action Line </a:t>
            </a:r>
            <a:r>
              <a:rPr lang="en-US" sz="2400" dirty="0">
                <a:solidFill>
                  <a:schemeClr val="tx2"/>
                </a:solidFill>
              </a:rPr>
              <a:t>C5 and recognized the importance of COP and youth empowerment. </a:t>
            </a:r>
          </a:p>
          <a:p>
            <a:pPr marL="342900" indent="-342900">
              <a:buFontTx/>
              <a:buChar char="-"/>
            </a:pPr>
            <a:r>
              <a:rPr lang="en-GB" sz="2400" dirty="0" smtClean="0">
                <a:solidFill>
                  <a:schemeClr val="tx2"/>
                </a:solidFill>
              </a:rPr>
              <a:t>The Annual WSIS Forum organized on an annual basis: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400" dirty="0" smtClean="0">
                <a:solidFill>
                  <a:schemeClr val="tx2"/>
                </a:solidFill>
              </a:rPr>
              <a:t>High Level Dialogues on Cybersecurity</a:t>
            </a:r>
            <a:endParaRPr lang="en-US" sz="2400" dirty="0" smtClean="0">
              <a:solidFill>
                <a:schemeClr val="tx2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400" dirty="0" smtClean="0">
                <a:solidFill>
                  <a:schemeClr val="tx2"/>
                </a:solidFill>
              </a:rPr>
              <a:t>AL C5 Facilitator’s sessions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GB" sz="2400" dirty="0" smtClean="0">
                <a:solidFill>
                  <a:schemeClr val="tx2"/>
                </a:solidFill>
              </a:rPr>
              <a:t>COP Roundtable discussions</a:t>
            </a:r>
          </a:p>
          <a:p>
            <a:pPr marL="800100" lvl="1" indent="-342900">
              <a:buFont typeface="Wingdings" panose="05000000000000000000" pitchFamily="2" charset="2"/>
              <a:buChar char="v"/>
            </a:pPr>
            <a:r>
              <a:rPr lang="en-GB" sz="2400" dirty="0" smtClean="0">
                <a:solidFill>
                  <a:srgbClr val="FF0000"/>
                </a:solidFill>
              </a:rPr>
              <a:t>(Note: Details on the WSIS Forum available at the end of this presentation) </a:t>
            </a:r>
            <a:endParaRPr lang="en-US" sz="2400" dirty="0" smtClean="0">
              <a:solidFill>
                <a:srgbClr val="FF0000"/>
              </a:solidFill>
            </a:endParaRPr>
          </a:p>
          <a:p>
            <a:endParaRPr lang="en-US" sz="32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  <a:p>
            <a:endParaRPr lang="en-US" sz="32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39697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33400" y="476672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Partnership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40475" y="4091012"/>
            <a:ext cx="9072873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Ins="132080" anchor="ctr">
            <a:spAutoFit/>
          </a:bodyPr>
          <a:lstStyle/>
          <a:p>
            <a:endParaRPr lang="en-US" sz="32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  <a:p>
            <a:endParaRPr lang="en-US" sz="3200" dirty="0">
              <a:solidFill>
                <a:schemeClr val="tx2"/>
              </a:solidFill>
              <a:latin typeface="Calibri" pitchFamily="34" charset="0"/>
              <a:cs typeface="Calibri" pitchFamily="34" charset="0"/>
              <a:sym typeface="Arial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267075" y="4309098"/>
            <a:ext cx="2747963" cy="187324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Freeform 90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3267075" y="3563039"/>
            <a:ext cx="2747963" cy="2619308"/>
          </a:xfrm>
          <a:custGeom>
            <a:avLst/>
            <a:gdLst>
              <a:gd name="T0" fmla="*/ 0 w 1731"/>
              <a:gd name="T1" fmla="*/ 2600325 h 1638"/>
              <a:gd name="T2" fmla="*/ 2740026 w 1731"/>
              <a:gd name="T3" fmla="*/ 2600325 h 1638"/>
              <a:gd name="T4" fmla="*/ 2747963 w 1731"/>
              <a:gd name="T5" fmla="*/ 38100 h 1638"/>
              <a:gd name="T6" fmla="*/ 2514601 w 1731"/>
              <a:gd name="T7" fmla="*/ 19050 h 1638"/>
              <a:gd name="T8" fmla="*/ 2357438 w 1731"/>
              <a:gd name="T9" fmla="*/ 4763 h 1638"/>
              <a:gd name="T10" fmla="*/ 2171701 w 1731"/>
              <a:gd name="T11" fmla="*/ 14288 h 1638"/>
              <a:gd name="T12" fmla="*/ 2066926 w 1731"/>
              <a:gd name="T13" fmla="*/ 0 h 1638"/>
              <a:gd name="T14" fmla="*/ 1885951 w 1731"/>
              <a:gd name="T15" fmla="*/ 0 h 1638"/>
              <a:gd name="T16" fmla="*/ 1743076 w 1731"/>
              <a:gd name="T17" fmla="*/ 23812 h 1638"/>
              <a:gd name="T18" fmla="*/ 1609725 w 1731"/>
              <a:gd name="T19" fmla="*/ 42862 h 1638"/>
              <a:gd name="T20" fmla="*/ 1447800 w 1731"/>
              <a:gd name="T21" fmla="*/ 57150 h 1638"/>
              <a:gd name="T22" fmla="*/ 1371600 w 1731"/>
              <a:gd name="T23" fmla="*/ 76200 h 1638"/>
              <a:gd name="T24" fmla="*/ 1276350 w 1731"/>
              <a:gd name="T25" fmla="*/ 90487 h 1638"/>
              <a:gd name="T26" fmla="*/ 1181100 w 1731"/>
              <a:gd name="T27" fmla="*/ 84137 h 1638"/>
              <a:gd name="T28" fmla="*/ 1063625 w 1731"/>
              <a:gd name="T29" fmla="*/ 119063 h 1638"/>
              <a:gd name="T30" fmla="*/ 976313 w 1731"/>
              <a:gd name="T31" fmla="*/ 165100 h 1638"/>
              <a:gd name="T32" fmla="*/ 828675 w 1731"/>
              <a:gd name="T33" fmla="*/ 198437 h 1638"/>
              <a:gd name="T34" fmla="*/ 608013 w 1731"/>
              <a:gd name="T35" fmla="*/ 311150 h 1638"/>
              <a:gd name="T36" fmla="*/ 482600 w 1731"/>
              <a:gd name="T37" fmla="*/ 361950 h 1638"/>
              <a:gd name="T38" fmla="*/ 371475 w 1731"/>
              <a:gd name="T39" fmla="*/ 473075 h 1638"/>
              <a:gd name="T40" fmla="*/ 296863 w 1731"/>
              <a:gd name="T41" fmla="*/ 522288 h 1638"/>
              <a:gd name="T42" fmla="*/ 196850 w 1731"/>
              <a:gd name="T43" fmla="*/ 561975 h 1638"/>
              <a:gd name="T44" fmla="*/ 92075 w 1731"/>
              <a:gd name="T45" fmla="*/ 606425 h 1638"/>
              <a:gd name="T46" fmla="*/ 6350 w 1731"/>
              <a:gd name="T47" fmla="*/ 666750 h 1638"/>
              <a:gd name="T48" fmla="*/ 0 w 1731"/>
              <a:gd name="T49" fmla="*/ 2600325 h 16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731"/>
              <a:gd name="T76" fmla="*/ 0 h 1638"/>
              <a:gd name="T77" fmla="*/ 1731 w 1731"/>
              <a:gd name="T78" fmla="*/ 1638 h 1638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871 w 10000"/>
              <a:gd name="connsiteY14" fmla="*/ 458 h 10000"/>
              <a:gd name="connsiteX15" fmla="*/ 3553 w 10000"/>
              <a:gd name="connsiteY15" fmla="*/ 635 h 10000"/>
              <a:gd name="connsiteX16" fmla="*/ 3016 w 10000"/>
              <a:gd name="connsiteY16" fmla="*/ 763 h 10000"/>
              <a:gd name="connsiteX17" fmla="*/ 2213 w 10000"/>
              <a:gd name="connsiteY17" fmla="*/ 1197 h 10000"/>
              <a:gd name="connsiteX18" fmla="*/ 1756 w 10000"/>
              <a:gd name="connsiteY18" fmla="*/ 1392 h 10000"/>
              <a:gd name="connsiteX19" fmla="*/ 1352 w 10000"/>
              <a:gd name="connsiteY19" fmla="*/ 1819 h 10000"/>
              <a:gd name="connsiteX20" fmla="*/ 1080 w 10000"/>
              <a:gd name="connsiteY20" fmla="*/ 2009 h 10000"/>
              <a:gd name="connsiteX21" fmla="*/ 335 w 10000"/>
              <a:gd name="connsiteY21" fmla="*/ 1685 h 10000"/>
              <a:gd name="connsiteX22" fmla="*/ 335 w 10000"/>
              <a:gd name="connsiteY22" fmla="*/ 2332 h 10000"/>
              <a:gd name="connsiteX23" fmla="*/ 23 w 10000"/>
              <a:gd name="connsiteY23" fmla="*/ 2564 h 10000"/>
              <a:gd name="connsiteX24" fmla="*/ 0 w 10000"/>
              <a:gd name="connsiteY24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871 w 10000"/>
              <a:gd name="connsiteY14" fmla="*/ 458 h 10000"/>
              <a:gd name="connsiteX15" fmla="*/ 3553 w 10000"/>
              <a:gd name="connsiteY15" fmla="*/ 635 h 10000"/>
              <a:gd name="connsiteX16" fmla="*/ 3016 w 10000"/>
              <a:gd name="connsiteY16" fmla="*/ 763 h 10000"/>
              <a:gd name="connsiteX17" fmla="*/ 2213 w 10000"/>
              <a:gd name="connsiteY17" fmla="*/ 1197 h 10000"/>
              <a:gd name="connsiteX18" fmla="*/ 1756 w 10000"/>
              <a:gd name="connsiteY18" fmla="*/ 1392 h 10000"/>
              <a:gd name="connsiteX19" fmla="*/ 1352 w 10000"/>
              <a:gd name="connsiteY19" fmla="*/ 1819 h 10000"/>
              <a:gd name="connsiteX20" fmla="*/ 941 w 10000"/>
              <a:gd name="connsiteY20" fmla="*/ 1496 h 10000"/>
              <a:gd name="connsiteX21" fmla="*/ 335 w 10000"/>
              <a:gd name="connsiteY21" fmla="*/ 1685 h 10000"/>
              <a:gd name="connsiteX22" fmla="*/ 335 w 10000"/>
              <a:gd name="connsiteY22" fmla="*/ 2332 h 10000"/>
              <a:gd name="connsiteX23" fmla="*/ 23 w 10000"/>
              <a:gd name="connsiteY23" fmla="*/ 2564 h 10000"/>
              <a:gd name="connsiteX24" fmla="*/ 0 w 10000"/>
              <a:gd name="connsiteY24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871 w 10000"/>
              <a:gd name="connsiteY14" fmla="*/ 458 h 10000"/>
              <a:gd name="connsiteX15" fmla="*/ 3553 w 10000"/>
              <a:gd name="connsiteY15" fmla="*/ 635 h 10000"/>
              <a:gd name="connsiteX16" fmla="*/ 3016 w 10000"/>
              <a:gd name="connsiteY16" fmla="*/ 763 h 10000"/>
              <a:gd name="connsiteX17" fmla="*/ 2213 w 10000"/>
              <a:gd name="connsiteY17" fmla="*/ 1197 h 10000"/>
              <a:gd name="connsiteX18" fmla="*/ 1756 w 10000"/>
              <a:gd name="connsiteY18" fmla="*/ 1392 h 10000"/>
              <a:gd name="connsiteX19" fmla="*/ 1075 w 10000"/>
              <a:gd name="connsiteY19" fmla="*/ 1599 h 10000"/>
              <a:gd name="connsiteX20" fmla="*/ 941 w 10000"/>
              <a:gd name="connsiteY20" fmla="*/ 1496 h 10000"/>
              <a:gd name="connsiteX21" fmla="*/ 335 w 10000"/>
              <a:gd name="connsiteY21" fmla="*/ 1685 h 10000"/>
              <a:gd name="connsiteX22" fmla="*/ 335 w 10000"/>
              <a:gd name="connsiteY22" fmla="*/ 2332 h 10000"/>
              <a:gd name="connsiteX23" fmla="*/ 23 w 10000"/>
              <a:gd name="connsiteY23" fmla="*/ 2564 h 10000"/>
              <a:gd name="connsiteX24" fmla="*/ 0 w 10000"/>
              <a:gd name="connsiteY24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871 w 10000"/>
              <a:gd name="connsiteY14" fmla="*/ 458 h 10000"/>
              <a:gd name="connsiteX15" fmla="*/ 3553 w 10000"/>
              <a:gd name="connsiteY15" fmla="*/ 635 h 10000"/>
              <a:gd name="connsiteX16" fmla="*/ 3016 w 10000"/>
              <a:gd name="connsiteY16" fmla="*/ 763 h 10000"/>
              <a:gd name="connsiteX17" fmla="*/ 2213 w 10000"/>
              <a:gd name="connsiteY17" fmla="*/ 1197 h 10000"/>
              <a:gd name="connsiteX18" fmla="*/ 2207 w 10000"/>
              <a:gd name="connsiteY18" fmla="*/ 1099 h 10000"/>
              <a:gd name="connsiteX19" fmla="*/ 1075 w 10000"/>
              <a:gd name="connsiteY19" fmla="*/ 1599 h 10000"/>
              <a:gd name="connsiteX20" fmla="*/ 941 w 10000"/>
              <a:gd name="connsiteY20" fmla="*/ 1496 h 10000"/>
              <a:gd name="connsiteX21" fmla="*/ 335 w 10000"/>
              <a:gd name="connsiteY21" fmla="*/ 1685 h 10000"/>
              <a:gd name="connsiteX22" fmla="*/ 335 w 10000"/>
              <a:gd name="connsiteY22" fmla="*/ 2332 h 10000"/>
              <a:gd name="connsiteX23" fmla="*/ 23 w 10000"/>
              <a:gd name="connsiteY23" fmla="*/ 2564 h 10000"/>
              <a:gd name="connsiteX24" fmla="*/ 0 w 10000"/>
              <a:gd name="connsiteY24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871 w 10000"/>
              <a:gd name="connsiteY14" fmla="*/ 458 h 10000"/>
              <a:gd name="connsiteX15" fmla="*/ 3553 w 10000"/>
              <a:gd name="connsiteY15" fmla="*/ 635 h 10000"/>
              <a:gd name="connsiteX16" fmla="*/ 2213 w 10000"/>
              <a:gd name="connsiteY16" fmla="*/ 1197 h 10000"/>
              <a:gd name="connsiteX17" fmla="*/ 2207 w 10000"/>
              <a:gd name="connsiteY17" fmla="*/ 1099 h 10000"/>
              <a:gd name="connsiteX18" fmla="*/ 1075 w 10000"/>
              <a:gd name="connsiteY18" fmla="*/ 1599 h 10000"/>
              <a:gd name="connsiteX19" fmla="*/ 941 w 10000"/>
              <a:gd name="connsiteY19" fmla="*/ 1496 h 10000"/>
              <a:gd name="connsiteX20" fmla="*/ 335 w 10000"/>
              <a:gd name="connsiteY20" fmla="*/ 1685 h 10000"/>
              <a:gd name="connsiteX21" fmla="*/ 335 w 10000"/>
              <a:gd name="connsiteY21" fmla="*/ 2332 h 10000"/>
              <a:gd name="connsiteX22" fmla="*/ 23 w 10000"/>
              <a:gd name="connsiteY22" fmla="*/ 2564 h 10000"/>
              <a:gd name="connsiteX23" fmla="*/ 0 w 10000"/>
              <a:gd name="connsiteY23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553 w 10000"/>
              <a:gd name="connsiteY14" fmla="*/ 635 h 10000"/>
              <a:gd name="connsiteX15" fmla="*/ 2213 w 10000"/>
              <a:gd name="connsiteY15" fmla="*/ 1197 h 10000"/>
              <a:gd name="connsiteX16" fmla="*/ 2207 w 10000"/>
              <a:gd name="connsiteY16" fmla="*/ 1099 h 10000"/>
              <a:gd name="connsiteX17" fmla="*/ 1075 w 10000"/>
              <a:gd name="connsiteY17" fmla="*/ 1599 h 10000"/>
              <a:gd name="connsiteX18" fmla="*/ 941 w 10000"/>
              <a:gd name="connsiteY18" fmla="*/ 1496 h 10000"/>
              <a:gd name="connsiteX19" fmla="*/ 335 w 10000"/>
              <a:gd name="connsiteY19" fmla="*/ 1685 h 10000"/>
              <a:gd name="connsiteX20" fmla="*/ 335 w 10000"/>
              <a:gd name="connsiteY20" fmla="*/ 2332 h 10000"/>
              <a:gd name="connsiteX21" fmla="*/ 23 w 10000"/>
              <a:gd name="connsiteY21" fmla="*/ 2564 h 10000"/>
              <a:gd name="connsiteX22" fmla="*/ 0 w 10000"/>
              <a:gd name="connsiteY22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553 w 10000"/>
              <a:gd name="connsiteY14" fmla="*/ 635 h 10000"/>
              <a:gd name="connsiteX15" fmla="*/ 2213 w 10000"/>
              <a:gd name="connsiteY15" fmla="*/ 1197 h 10000"/>
              <a:gd name="connsiteX16" fmla="*/ 1075 w 10000"/>
              <a:gd name="connsiteY16" fmla="*/ 1599 h 10000"/>
              <a:gd name="connsiteX17" fmla="*/ 941 w 10000"/>
              <a:gd name="connsiteY17" fmla="*/ 1496 h 10000"/>
              <a:gd name="connsiteX18" fmla="*/ 335 w 10000"/>
              <a:gd name="connsiteY18" fmla="*/ 1685 h 10000"/>
              <a:gd name="connsiteX19" fmla="*/ 335 w 10000"/>
              <a:gd name="connsiteY19" fmla="*/ 2332 h 10000"/>
              <a:gd name="connsiteX20" fmla="*/ 23 w 10000"/>
              <a:gd name="connsiteY20" fmla="*/ 2564 h 10000"/>
              <a:gd name="connsiteX21" fmla="*/ 0 w 10000"/>
              <a:gd name="connsiteY21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553 w 10000"/>
              <a:gd name="connsiteY14" fmla="*/ 635 h 10000"/>
              <a:gd name="connsiteX15" fmla="*/ 2213 w 10000"/>
              <a:gd name="connsiteY15" fmla="*/ 1197 h 10000"/>
              <a:gd name="connsiteX16" fmla="*/ 1075 w 10000"/>
              <a:gd name="connsiteY16" fmla="*/ 1599 h 10000"/>
              <a:gd name="connsiteX17" fmla="*/ 335 w 10000"/>
              <a:gd name="connsiteY17" fmla="*/ 1685 h 10000"/>
              <a:gd name="connsiteX18" fmla="*/ 335 w 10000"/>
              <a:gd name="connsiteY18" fmla="*/ 2332 h 10000"/>
              <a:gd name="connsiteX19" fmla="*/ 23 w 10000"/>
              <a:gd name="connsiteY19" fmla="*/ 2564 h 10000"/>
              <a:gd name="connsiteX20" fmla="*/ 0 w 10000"/>
              <a:gd name="connsiteY20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3553 w 10000"/>
              <a:gd name="connsiteY14" fmla="*/ 635 h 10000"/>
              <a:gd name="connsiteX15" fmla="*/ 2040 w 10000"/>
              <a:gd name="connsiteY15" fmla="*/ 1124 h 10000"/>
              <a:gd name="connsiteX16" fmla="*/ 1075 w 10000"/>
              <a:gd name="connsiteY16" fmla="*/ 1599 h 10000"/>
              <a:gd name="connsiteX17" fmla="*/ 335 w 10000"/>
              <a:gd name="connsiteY17" fmla="*/ 1685 h 10000"/>
              <a:gd name="connsiteX18" fmla="*/ 335 w 10000"/>
              <a:gd name="connsiteY18" fmla="*/ 2332 h 10000"/>
              <a:gd name="connsiteX19" fmla="*/ 23 w 10000"/>
              <a:gd name="connsiteY19" fmla="*/ 2564 h 10000"/>
              <a:gd name="connsiteX20" fmla="*/ 0 w 10000"/>
              <a:gd name="connsiteY20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298 w 10000"/>
              <a:gd name="connsiteY13" fmla="*/ 324 h 10000"/>
              <a:gd name="connsiteX14" fmla="*/ 2894 w 10000"/>
              <a:gd name="connsiteY14" fmla="*/ 635 h 10000"/>
              <a:gd name="connsiteX15" fmla="*/ 2040 w 10000"/>
              <a:gd name="connsiteY15" fmla="*/ 1124 h 10000"/>
              <a:gd name="connsiteX16" fmla="*/ 1075 w 10000"/>
              <a:gd name="connsiteY16" fmla="*/ 1599 h 10000"/>
              <a:gd name="connsiteX17" fmla="*/ 335 w 10000"/>
              <a:gd name="connsiteY17" fmla="*/ 1685 h 10000"/>
              <a:gd name="connsiteX18" fmla="*/ 335 w 10000"/>
              <a:gd name="connsiteY18" fmla="*/ 2332 h 10000"/>
              <a:gd name="connsiteX19" fmla="*/ 23 w 10000"/>
              <a:gd name="connsiteY19" fmla="*/ 2564 h 10000"/>
              <a:gd name="connsiteX20" fmla="*/ 0 w 10000"/>
              <a:gd name="connsiteY20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645 w 10000"/>
              <a:gd name="connsiteY12" fmla="*/ 348 h 10000"/>
              <a:gd name="connsiteX13" fmla="*/ 4055 w 10000"/>
              <a:gd name="connsiteY13" fmla="*/ 287 h 10000"/>
              <a:gd name="connsiteX14" fmla="*/ 2894 w 10000"/>
              <a:gd name="connsiteY14" fmla="*/ 635 h 10000"/>
              <a:gd name="connsiteX15" fmla="*/ 2040 w 10000"/>
              <a:gd name="connsiteY15" fmla="*/ 1124 h 10000"/>
              <a:gd name="connsiteX16" fmla="*/ 1075 w 10000"/>
              <a:gd name="connsiteY16" fmla="*/ 1599 h 10000"/>
              <a:gd name="connsiteX17" fmla="*/ 335 w 10000"/>
              <a:gd name="connsiteY17" fmla="*/ 1685 h 10000"/>
              <a:gd name="connsiteX18" fmla="*/ 335 w 10000"/>
              <a:gd name="connsiteY18" fmla="*/ 2332 h 10000"/>
              <a:gd name="connsiteX19" fmla="*/ 23 w 10000"/>
              <a:gd name="connsiteY19" fmla="*/ 2564 h 10000"/>
              <a:gd name="connsiteX20" fmla="*/ 0 w 10000"/>
              <a:gd name="connsiteY20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991 w 10000"/>
              <a:gd name="connsiteY11" fmla="*/ 293 h 10000"/>
              <a:gd name="connsiteX12" fmla="*/ 4055 w 10000"/>
              <a:gd name="connsiteY12" fmla="*/ 287 h 10000"/>
              <a:gd name="connsiteX13" fmla="*/ 2894 w 10000"/>
              <a:gd name="connsiteY13" fmla="*/ 635 h 10000"/>
              <a:gd name="connsiteX14" fmla="*/ 2040 w 10000"/>
              <a:gd name="connsiteY14" fmla="*/ 1124 h 10000"/>
              <a:gd name="connsiteX15" fmla="*/ 1075 w 10000"/>
              <a:gd name="connsiteY15" fmla="*/ 1599 h 10000"/>
              <a:gd name="connsiteX16" fmla="*/ 335 w 10000"/>
              <a:gd name="connsiteY16" fmla="*/ 1685 h 10000"/>
              <a:gd name="connsiteX17" fmla="*/ 335 w 10000"/>
              <a:gd name="connsiteY17" fmla="*/ 2332 h 10000"/>
              <a:gd name="connsiteX18" fmla="*/ 23 w 10000"/>
              <a:gd name="connsiteY18" fmla="*/ 2564 h 10000"/>
              <a:gd name="connsiteX19" fmla="*/ 0 w 10000"/>
              <a:gd name="connsiteY19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858 w 10000"/>
              <a:gd name="connsiteY9" fmla="*/ 165 h 10000"/>
              <a:gd name="connsiteX10" fmla="*/ 5269 w 10000"/>
              <a:gd name="connsiteY10" fmla="*/ 220 h 10000"/>
              <a:gd name="connsiteX11" fmla="*/ 4055 w 10000"/>
              <a:gd name="connsiteY11" fmla="*/ 287 h 10000"/>
              <a:gd name="connsiteX12" fmla="*/ 2894 w 10000"/>
              <a:gd name="connsiteY12" fmla="*/ 635 h 10000"/>
              <a:gd name="connsiteX13" fmla="*/ 2040 w 10000"/>
              <a:gd name="connsiteY13" fmla="*/ 1124 h 10000"/>
              <a:gd name="connsiteX14" fmla="*/ 1075 w 10000"/>
              <a:gd name="connsiteY14" fmla="*/ 1599 h 10000"/>
              <a:gd name="connsiteX15" fmla="*/ 335 w 10000"/>
              <a:gd name="connsiteY15" fmla="*/ 1685 h 10000"/>
              <a:gd name="connsiteX16" fmla="*/ 335 w 10000"/>
              <a:gd name="connsiteY16" fmla="*/ 2332 h 10000"/>
              <a:gd name="connsiteX17" fmla="*/ 23 w 10000"/>
              <a:gd name="connsiteY17" fmla="*/ 2564 h 10000"/>
              <a:gd name="connsiteX18" fmla="*/ 0 w 10000"/>
              <a:gd name="connsiteY18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863 w 10000"/>
              <a:gd name="connsiteY7" fmla="*/ 0 h 10000"/>
              <a:gd name="connsiteX8" fmla="*/ 6343 w 10000"/>
              <a:gd name="connsiteY8" fmla="*/ 92 h 10000"/>
              <a:gd name="connsiteX9" fmla="*/ 5269 w 10000"/>
              <a:gd name="connsiteY9" fmla="*/ 220 h 10000"/>
              <a:gd name="connsiteX10" fmla="*/ 4055 w 10000"/>
              <a:gd name="connsiteY10" fmla="*/ 287 h 10000"/>
              <a:gd name="connsiteX11" fmla="*/ 2894 w 10000"/>
              <a:gd name="connsiteY11" fmla="*/ 635 h 10000"/>
              <a:gd name="connsiteX12" fmla="*/ 2040 w 10000"/>
              <a:gd name="connsiteY12" fmla="*/ 1124 h 10000"/>
              <a:gd name="connsiteX13" fmla="*/ 1075 w 10000"/>
              <a:gd name="connsiteY13" fmla="*/ 1599 h 10000"/>
              <a:gd name="connsiteX14" fmla="*/ 335 w 10000"/>
              <a:gd name="connsiteY14" fmla="*/ 1685 h 10000"/>
              <a:gd name="connsiteX15" fmla="*/ 335 w 10000"/>
              <a:gd name="connsiteY15" fmla="*/ 2332 h 10000"/>
              <a:gd name="connsiteX16" fmla="*/ 23 w 10000"/>
              <a:gd name="connsiteY16" fmla="*/ 2564 h 10000"/>
              <a:gd name="connsiteX17" fmla="*/ 0 w 10000"/>
              <a:gd name="connsiteY17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343 w 10000"/>
              <a:gd name="connsiteY7" fmla="*/ 92 h 10000"/>
              <a:gd name="connsiteX8" fmla="*/ 5269 w 10000"/>
              <a:gd name="connsiteY8" fmla="*/ 220 h 10000"/>
              <a:gd name="connsiteX9" fmla="*/ 4055 w 10000"/>
              <a:gd name="connsiteY9" fmla="*/ 287 h 10000"/>
              <a:gd name="connsiteX10" fmla="*/ 2894 w 10000"/>
              <a:gd name="connsiteY10" fmla="*/ 635 h 10000"/>
              <a:gd name="connsiteX11" fmla="*/ 2040 w 10000"/>
              <a:gd name="connsiteY11" fmla="*/ 1124 h 10000"/>
              <a:gd name="connsiteX12" fmla="*/ 1075 w 10000"/>
              <a:gd name="connsiteY12" fmla="*/ 1599 h 10000"/>
              <a:gd name="connsiteX13" fmla="*/ 335 w 10000"/>
              <a:gd name="connsiteY13" fmla="*/ 1685 h 10000"/>
              <a:gd name="connsiteX14" fmla="*/ 335 w 10000"/>
              <a:gd name="connsiteY14" fmla="*/ 2332 h 10000"/>
              <a:gd name="connsiteX15" fmla="*/ 23 w 10000"/>
              <a:gd name="connsiteY15" fmla="*/ 2564 h 10000"/>
              <a:gd name="connsiteX16" fmla="*/ 0 w 10000"/>
              <a:gd name="connsiteY16" fmla="*/ 10000 h 10000"/>
              <a:gd name="connsiteX0" fmla="*/ 0 w 10000"/>
              <a:gd name="connsiteY0" fmla="*/ 10000 h 10000"/>
              <a:gd name="connsiteX1" fmla="*/ 9971 w 10000"/>
              <a:gd name="connsiteY1" fmla="*/ 10000 h 10000"/>
              <a:gd name="connsiteX2" fmla="*/ 10000 w 10000"/>
              <a:gd name="connsiteY2" fmla="*/ 147 h 10000"/>
              <a:gd name="connsiteX3" fmla="*/ 9151 w 10000"/>
              <a:gd name="connsiteY3" fmla="*/ 73 h 10000"/>
              <a:gd name="connsiteX4" fmla="*/ 8579 w 10000"/>
              <a:gd name="connsiteY4" fmla="*/ 18 h 10000"/>
              <a:gd name="connsiteX5" fmla="*/ 7903 w 10000"/>
              <a:gd name="connsiteY5" fmla="*/ 55 h 10000"/>
              <a:gd name="connsiteX6" fmla="*/ 7522 w 10000"/>
              <a:gd name="connsiteY6" fmla="*/ 0 h 10000"/>
              <a:gd name="connsiteX7" fmla="*/ 6343 w 10000"/>
              <a:gd name="connsiteY7" fmla="*/ 92 h 10000"/>
              <a:gd name="connsiteX8" fmla="*/ 5165 w 10000"/>
              <a:gd name="connsiteY8" fmla="*/ 110 h 10000"/>
              <a:gd name="connsiteX9" fmla="*/ 4055 w 10000"/>
              <a:gd name="connsiteY9" fmla="*/ 287 h 10000"/>
              <a:gd name="connsiteX10" fmla="*/ 2894 w 10000"/>
              <a:gd name="connsiteY10" fmla="*/ 635 h 10000"/>
              <a:gd name="connsiteX11" fmla="*/ 2040 w 10000"/>
              <a:gd name="connsiteY11" fmla="*/ 1124 h 10000"/>
              <a:gd name="connsiteX12" fmla="*/ 1075 w 10000"/>
              <a:gd name="connsiteY12" fmla="*/ 1599 h 10000"/>
              <a:gd name="connsiteX13" fmla="*/ 335 w 10000"/>
              <a:gd name="connsiteY13" fmla="*/ 1685 h 10000"/>
              <a:gd name="connsiteX14" fmla="*/ 335 w 10000"/>
              <a:gd name="connsiteY14" fmla="*/ 2332 h 10000"/>
              <a:gd name="connsiteX15" fmla="*/ 23 w 10000"/>
              <a:gd name="connsiteY15" fmla="*/ 2564 h 10000"/>
              <a:gd name="connsiteX16" fmla="*/ 0 w 10000"/>
              <a:gd name="connsiteY16" fmla="*/ 10000 h 10000"/>
              <a:gd name="connsiteX0" fmla="*/ 0 w 10000"/>
              <a:gd name="connsiteY0" fmla="*/ 10018 h 10018"/>
              <a:gd name="connsiteX1" fmla="*/ 9971 w 10000"/>
              <a:gd name="connsiteY1" fmla="*/ 10018 h 10018"/>
              <a:gd name="connsiteX2" fmla="*/ 10000 w 10000"/>
              <a:gd name="connsiteY2" fmla="*/ 165 h 10018"/>
              <a:gd name="connsiteX3" fmla="*/ 9151 w 10000"/>
              <a:gd name="connsiteY3" fmla="*/ 91 h 10018"/>
              <a:gd name="connsiteX4" fmla="*/ 8579 w 10000"/>
              <a:gd name="connsiteY4" fmla="*/ 36 h 10018"/>
              <a:gd name="connsiteX5" fmla="*/ 7903 w 10000"/>
              <a:gd name="connsiteY5" fmla="*/ 73 h 10018"/>
              <a:gd name="connsiteX6" fmla="*/ 7522 w 10000"/>
              <a:gd name="connsiteY6" fmla="*/ 18 h 10018"/>
              <a:gd name="connsiteX7" fmla="*/ 6135 w 10000"/>
              <a:gd name="connsiteY7" fmla="*/ 0 h 10018"/>
              <a:gd name="connsiteX8" fmla="*/ 5165 w 10000"/>
              <a:gd name="connsiteY8" fmla="*/ 128 h 10018"/>
              <a:gd name="connsiteX9" fmla="*/ 4055 w 10000"/>
              <a:gd name="connsiteY9" fmla="*/ 305 h 10018"/>
              <a:gd name="connsiteX10" fmla="*/ 2894 w 10000"/>
              <a:gd name="connsiteY10" fmla="*/ 653 h 10018"/>
              <a:gd name="connsiteX11" fmla="*/ 2040 w 10000"/>
              <a:gd name="connsiteY11" fmla="*/ 1142 h 10018"/>
              <a:gd name="connsiteX12" fmla="*/ 1075 w 10000"/>
              <a:gd name="connsiteY12" fmla="*/ 1617 h 10018"/>
              <a:gd name="connsiteX13" fmla="*/ 335 w 10000"/>
              <a:gd name="connsiteY13" fmla="*/ 1703 h 10018"/>
              <a:gd name="connsiteX14" fmla="*/ 335 w 10000"/>
              <a:gd name="connsiteY14" fmla="*/ 2350 h 10018"/>
              <a:gd name="connsiteX15" fmla="*/ 23 w 10000"/>
              <a:gd name="connsiteY15" fmla="*/ 2582 h 10018"/>
              <a:gd name="connsiteX16" fmla="*/ 0 w 10000"/>
              <a:gd name="connsiteY16" fmla="*/ 10018 h 10018"/>
              <a:gd name="connsiteX0" fmla="*/ 0 w 10000"/>
              <a:gd name="connsiteY0" fmla="*/ 10073 h 10073"/>
              <a:gd name="connsiteX1" fmla="*/ 9971 w 10000"/>
              <a:gd name="connsiteY1" fmla="*/ 10073 h 10073"/>
              <a:gd name="connsiteX2" fmla="*/ 10000 w 10000"/>
              <a:gd name="connsiteY2" fmla="*/ 220 h 10073"/>
              <a:gd name="connsiteX3" fmla="*/ 9151 w 10000"/>
              <a:gd name="connsiteY3" fmla="*/ 146 h 10073"/>
              <a:gd name="connsiteX4" fmla="*/ 8579 w 10000"/>
              <a:gd name="connsiteY4" fmla="*/ 91 h 10073"/>
              <a:gd name="connsiteX5" fmla="*/ 7903 w 10000"/>
              <a:gd name="connsiteY5" fmla="*/ 128 h 10073"/>
              <a:gd name="connsiteX6" fmla="*/ 7418 w 10000"/>
              <a:gd name="connsiteY6" fmla="*/ 0 h 10073"/>
              <a:gd name="connsiteX7" fmla="*/ 6135 w 10000"/>
              <a:gd name="connsiteY7" fmla="*/ 55 h 10073"/>
              <a:gd name="connsiteX8" fmla="*/ 5165 w 10000"/>
              <a:gd name="connsiteY8" fmla="*/ 183 h 10073"/>
              <a:gd name="connsiteX9" fmla="*/ 4055 w 10000"/>
              <a:gd name="connsiteY9" fmla="*/ 360 h 10073"/>
              <a:gd name="connsiteX10" fmla="*/ 2894 w 10000"/>
              <a:gd name="connsiteY10" fmla="*/ 708 h 10073"/>
              <a:gd name="connsiteX11" fmla="*/ 2040 w 10000"/>
              <a:gd name="connsiteY11" fmla="*/ 1197 h 10073"/>
              <a:gd name="connsiteX12" fmla="*/ 1075 w 10000"/>
              <a:gd name="connsiteY12" fmla="*/ 1672 h 10073"/>
              <a:gd name="connsiteX13" fmla="*/ 335 w 10000"/>
              <a:gd name="connsiteY13" fmla="*/ 1758 h 10073"/>
              <a:gd name="connsiteX14" fmla="*/ 335 w 10000"/>
              <a:gd name="connsiteY14" fmla="*/ 2405 h 10073"/>
              <a:gd name="connsiteX15" fmla="*/ 23 w 10000"/>
              <a:gd name="connsiteY15" fmla="*/ 2637 h 10073"/>
              <a:gd name="connsiteX16" fmla="*/ 0 w 10000"/>
              <a:gd name="connsiteY16" fmla="*/ 10073 h 10073"/>
              <a:gd name="connsiteX0" fmla="*/ 0 w 10000"/>
              <a:gd name="connsiteY0" fmla="*/ 10073 h 10073"/>
              <a:gd name="connsiteX1" fmla="*/ 9971 w 10000"/>
              <a:gd name="connsiteY1" fmla="*/ 10073 h 10073"/>
              <a:gd name="connsiteX2" fmla="*/ 10000 w 10000"/>
              <a:gd name="connsiteY2" fmla="*/ 220 h 10073"/>
              <a:gd name="connsiteX3" fmla="*/ 9151 w 10000"/>
              <a:gd name="connsiteY3" fmla="*/ 146 h 10073"/>
              <a:gd name="connsiteX4" fmla="*/ 8579 w 10000"/>
              <a:gd name="connsiteY4" fmla="*/ 91 h 10073"/>
              <a:gd name="connsiteX5" fmla="*/ 7418 w 10000"/>
              <a:gd name="connsiteY5" fmla="*/ 0 h 10073"/>
              <a:gd name="connsiteX6" fmla="*/ 6135 w 10000"/>
              <a:gd name="connsiteY6" fmla="*/ 55 h 10073"/>
              <a:gd name="connsiteX7" fmla="*/ 5165 w 10000"/>
              <a:gd name="connsiteY7" fmla="*/ 183 h 10073"/>
              <a:gd name="connsiteX8" fmla="*/ 4055 w 10000"/>
              <a:gd name="connsiteY8" fmla="*/ 360 h 10073"/>
              <a:gd name="connsiteX9" fmla="*/ 2894 w 10000"/>
              <a:gd name="connsiteY9" fmla="*/ 708 h 10073"/>
              <a:gd name="connsiteX10" fmla="*/ 2040 w 10000"/>
              <a:gd name="connsiteY10" fmla="*/ 1197 h 10073"/>
              <a:gd name="connsiteX11" fmla="*/ 1075 w 10000"/>
              <a:gd name="connsiteY11" fmla="*/ 1672 h 10073"/>
              <a:gd name="connsiteX12" fmla="*/ 335 w 10000"/>
              <a:gd name="connsiteY12" fmla="*/ 1758 h 10073"/>
              <a:gd name="connsiteX13" fmla="*/ 335 w 10000"/>
              <a:gd name="connsiteY13" fmla="*/ 2405 h 10073"/>
              <a:gd name="connsiteX14" fmla="*/ 23 w 10000"/>
              <a:gd name="connsiteY14" fmla="*/ 2637 h 10073"/>
              <a:gd name="connsiteX15" fmla="*/ 0 w 10000"/>
              <a:gd name="connsiteY15" fmla="*/ 10073 h 10073"/>
              <a:gd name="connsiteX0" fmla="*/ 0 w 10000"/>
              <a:gd name="connsiteY0" fmla="*/ 10073 h 10073"/>
              <a:gd name="connsiteX1" fmla="*/ 9971 w 10000"/>
              <a:gd name="connsiteY1" fmla="*/ 10073 h 10073"/>
              <a:gd name="connsiteX2" fmla="*/ 10000 w 10000"/>
              <a:gd name="connsiteY2" fmla="*/ 220 h 10073"/>
              <a:gd name="connsiteX3" fmla="*/ 9151 w 10000"/>
              <a:gd name="connsiteY3" fmla="*/ 146 h 10073"/>
              <a:gd name="connsiteX4" fmla="*/ 8406 w 10000"/>
              <a:gd name="connsiteY4" fmla="*/ 54 h 10073"/>
              <a:gd name="connsiteX5" fmla="*/ 7418 w 10000"/>
              <a:gd name="connsiteY5" fmla="*/ 0 h 10073"/>
              <a:gd name="connsiteX6" fmla="*/ 6135 w 10000"/>
              <a:gd name="connsiteY6" fmla="*/ 55 h 10073"/>
              <a:gd name="connsiteX7" fmla="*/ 5165 w 10000"/>
              <a:gd name="connsiteY7" fmla="*/ 183 h 10073"/>
              <a:gd name="connsiteX8" fmla="*/ 4055 w 10000"/>
              <a:gd name="connsiteY8" fmla="*/ 360 h 10073"/>
              <a:gd name="connsiteX9" fmla="*/ 2894 w 10000"/>
              <a:gd name="connsiteY9" fmla="*/ 708 h 10073"/>
              <a:gd name="connsiteX10" fmla="*/ 2040 w 10000"/>
              <a:gd name="connsiteY10" fmla="*/ 1197 h 10073"/>
              <a:gd name="connsiteX11" fmla="*/ 1075 w 10000"/>
              <a:gd name="connsiteY11" fmla="*/ 1672 h 10073"/>
              <a:gd name="connsiteX12" fmla="*/ 335 w 10000"/>
              <a:gd name="connsiteY12" fmla="*/ 1758 h 10073"/>
              <a:gd name="connsiteX13" fmla="*/ 335 w 10000"/>
              <a:gd name="connsiteY13" fmla="*/ 2405 h 10073"/>
              <a:gd name="connsiteX14" fmla="*/ 23 w 10000"/>
              <a:gd name="connsiteY14" fmla="*/ 2637 h 10073"/>
              <a:gd name="connsiteX15" fmla="*/ 0 w 10000"/>
              <a:gd name="connsiteY15" fmla="*/ 10073 h 10073"/>
              <a:gd name="connsiteX0" fmla="*/ 0 w 10000"/>
              <a:gd name="connsiteY0" fmla="*/ 10073 h 10073"/>
              <a:gd name="connsiteX1" fmla="*/ 9971 w 10000"/>
              <a:gd name="connsiteY1" fmla="*/ 10073 h 10073"/>
              <a:gd name="connsiteX2" fmla="*/ 10000 w 10000"/>
              <a:gd name="connsiteY2" fmla="*/ 220 h 10073"/>
              <a:gd name="connsiteX3" fmla="*/ 9532 w 10000"/>
              <a:gd name="connsiteY3" fmla="*/ 256 h 10073"/>
              <a:gd name="connsiteX4" fmla="*/ 8406 w 10000"/>
              <a:gd name="connsiteY4" fmla="*/ 54 h 10073"/>
              <a:gd name="connsiteX5" fmla="*/ 7418 w 10000"/>
              <a:gd name="connsiteY5" fmla="*/ 0 h 10073"/>
              <a:gd name="connsiteX6" fmla="*/ 6135 w 10000"/>
              <a:gd name="connsiteY6" fmla="*/ 55 h 10073"/>
              <a:gd name="connsiteX7" fmla="*/ 5165 w 10000"/>
              <a:gd name="connsiteY7" fmla="*/ 183 h 10073"/>
              <a:gd name="connsiteX8" fmla="*/ 4055 w 10000"/>
              <a:gd name="connsiteY8" fmla="*/ 360 h 10073"/>
              <a:gd name="connsiteX9" fmla="*/ 2894 w 10000"/>
              <a:gd name="connsiteY9" fmla="*/ 708 h 10073"/>
              <a:gd name="connsiteX10" fmla="*/ 2040 w 10000"/>
              <a:gd name="connsiteY10" fmla="*/ 1197 h 10073"/>
              <a:gd name="connsiteX11" fmla="*/ 1075 w 10000"/>
              <a:gd name="connsiteY11" fmla="*/ 1672 h 10073"/>
              <a:gd name="connsiteX12" fmla="*/ 335 w 10000"/>
              <a:gd name="connsiteY12" fmla="*/ 1758 h 10073"/>
              <a:gd name="connsiteX13" fmla="*/ 335 w 10000"/>
              <a:gd name="connsiteY13" fmla="*/ 2405 h 10073"/>
              <a:gd name="connsiteX14" fmla="*/ 23 w 10000"/>
              <a:gd name="connsiteY14" fmla="*/ 2637 h 10073"/>
              <a:gd name="connsiteX15" fmla="*/ 0 w 10000"/>
              <a:gd name="connsiteY15" fmla="*/ 10073 h 10073"/>
              <a:gd name="connsiteX0" fmla="*/ 0 w 10000"/>
              <a:gd name="connsiteY0" fmla="*/ 10073 h 10073"/>
              <a:gd name="connsiteX1" fmla="*/ 9971 w 10000"/>
              <a:gd name="connsiteY1" fmla="*/ 10073 h 10073"/>
              <a:gd name="connsiteX2" fmla="*/ 10000 w 10000"/>
              <a:gd name="connsiteY2" fmla="*/ 220 h 10073"/>
              <a:gd name="connsiteX3" fmla="*/ 9532 w 10000"/>
              <a:gd name="connsiteY3" fmla="*/ 256 h 10073"/>
              <a:gd name="connsiteX4" fmla="*/ 8406 w 10000"/>
              <a:gd name="connsiteY4" fmla="*/ 54 h 10073"/>
              <a:gd name="connsiteX5" fmla="*/ 7418 w 10000"/>
              <a:gd name="connsiteY5" fmla="*/ 0 h 10073"/>
              <a:gd name="connsiteX6" fmla="*/ 6135 w 10000"/>
              <a:gd name="connsiteY6" fmla="*/ 55 h 10073"/>
              <a:gd name="connsiteX7" fmla="*/ 5165 w 10000"/>
              <a:gd name="connsiteY7" fmla="*/ 183 h 10073"/>
              <a:gd name="connsiteX8" fmla="*/ 4055 w 10000"/>
              <a:gd name="connsiteY8" fmla="*/ 360 h 10073"/>
              <a:gd name="connsiteX9" fmla="*/ 2894 w 10000"/>
              <a:gd name="connsiteY9" fmla="*/ 708 h 10073"/>
              <a:gd name="connsiteX10" fmla="*/ 2040 w 10000"/>
              <a:gd name="connsiteY10" fmla="*/ 1197 h 10073"/>
              <a:gd name="connsiteX11" fmla="*/ 1075 w 10000"/>
              <a:gd name="connsiteY11" fmla="*/ 1672 h 10073"/>
              <a:gd name="connsiteX12" fmla="*/ 335 w 10000"/>
              <a:gd name="connsiteY12" fmla="*/ 2405 h 10073"/>
              <a:gd name="connsiteX13" fmla="*/ 23 w 10000"/>
              <a:gd name="connsiteY13" fmla="*/ 2637 h 10073"/>
              <a:gd name="connsiteX14" fmla="*/ 0 w 10000"/>
              <a:gd name="connsiteY14" fmla="*/ 10073 h 10073"/>
              <a:gd name="connsiteX0" fmla="*/ 0 w 10000"/>
              <a:gd name="connsiteY0" fmla="*/ 10073 h 10073"/>
              <a:gd name="connsiteX1" fmla="*/ 9971 w 10000"/>
              <a:gd name="connsiteY1" fmla="*/ 10073 h 10073"/>
              <a:gd name="connsiteX2" fmla="*/ 10000 w 10000"/>
              <a:gd name="connsiteY2" fmla="*/ 220 h 10073"/>
              <a:gd name="connsiteX3" fmla="*/ 9532 w 10000"/>
              <a:gd name="connsiteY3" fmla="*/ 256 h 10073"/>
              <a:gd name="connsiteX4" fmla="*/ 8406 w 10000"/>
              <a:gd name="connsiteY4" fmla="*/ 54 h 10073"/>
              <a:gd name="connsiteX5" fmla="*/ 7418 w 10000"/>
              <a:gd name="connsiteY5" fmla="*/ 0 h 10073"/>
              <a:gd name="connsiteX6" fmla="*/ 6135 w 10000"/>
              <a:gd name="connsiteY6" fmla="*/ 55 h 10073"/>
              <a:gd name="connsiteX7" fmla="*/ 5165 w 10000"/>
              <a:gd name="connsiteY7" fmla="*/ 183 h 10073"/>
              <a:gd name="connsiteX8" fmla="*/ 4055 w 10000"/>
              <a:gd name="connsiteY8" fmla="*/ 360 h 10073"/>
              <a:gd name="connsiteX9" fmla="*/ 2894 w 10000"/>
              <a:gd name="connsiteY9" fmla="*/ 708 h 10073"/>
              <a:gd name="connsiteX10" fmla="*/ 2040 w 10000"/>
              <a:gd name="connsiteY10" fmla="*/ 1197 h 10073"/>
              <a:gd name="connsiteX11" fmla="*/ 1075 w 10000"/>
              <a:gd name="connsiteY11" fmla="*/ 1672 h 10073"/>
              <a:gd name="connsiteX12" fmla="*/ 508 w 10000"/>
              <a:gd name="connsiteY12" fmla="*/ 2002 h 10073"/>
              <a:gd name="connsiteX13" fmla="*/ 23 w 10000"/>
              <a:gd name="connsiteY13" fmla="*/ 2637 h 10073"/>
              <a:gd name="connsiteX14" fmla="*/ 0 w 10000"/>
              <a:gd name="connsiteY14" fmla="*/ 10073 h 100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0" h="10073">
                <a:moveTo>
                  <a:pt x="0" y="10073"/>
                </a:moveTo>
                <a:lnTo>
                  <a:pt x="9971" y="10073"/>
                </a:lnTo>
                <a:cubicBezTo>
                  <a:pt x="9981" y="6789"/>
                  <a:pt x="9990" y="3504"/>
                  <a:pt x="10000" y="220"/>
                </a:cubicBezTo>
                <a:lnTo>
                  <a:pt x="9532" y="256"/>
                </a:lnTo>
                <a:lnTo>
                  <a:pt x="8406" y="54"/>
                </a:lnTo>
                <a:lnTo>
                  <a:pt x="7418" y="0"/>
                </a:lnTo>
                <a:lnTo>
                  <a:pt x="6135" y="55"/>
                </a:lnTo>
                <a:lnTo>
                  <a:pt x="5165" y="183"/>
                </a:lnTo>
                <a:lnTo>
                  <a:pt x="4055" y="360"/>
                </a:lnTo>
                <a:lnTo>
                  <a:pt x="2894" y="708"/>
                </a:lnTo>
                <a:lnTo>
                  <a:pt x="2040" y="1197"/>
                </a:lnTo>
                <a:cubicBezTo>
                  <a:pt x="1627" y="1358"/>
                  <a:pt x="1287" y="1622"/>
                  <a:pt x="1075" y="1672"/>
                </a:cubicBezTo>
                <a:cubicBezTo>
                  <a:pt x="791" y="1873"/>
                  <a:pt x="683" y="1841"/>
                  <a:pt x="508" y="2002"/>
                </a:cubicBezTo>
                <a:lnTo>
                  <a:pt x="23" y="2637"/>
                </a:lnTo>
                <a:cubicBezTo>
                  <a:pt x="15" y="5116"/>
                  <a:pt x="8" y="7594"/>
                  <a:pt x="0" y="10073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5981794" y="3351190"/>
            <a:ext cx="2628000" cy="283115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Freeform 91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5992812" y="2760640"/>
            <a:ext cx="2628000" cy="3421707"/>
          </a:xfrm>
          <a:custGeom>
            <a:avLst/>
            <a:gdLst>
              <a:gd name="T0" fmla="*/ 0 w 1716"/>
              <a:gd name="T1" fmla="*/ 3616325 h 2490"/>
              <a:gd name="T2" fmla="*/ 2605583 w 1716"/>
              <a:gd name="T3" fmla="*/ 3616325 h 2490"/>
              <a:gd name="T4" fmla="*/ 2617787 w 1716"/>
              <a:gd name="T5" fmla="*/ 0 h 2490"/>
              <a:gd name="T6" fmla="*/ 2526256 w 1716"/>
              <a:gd name="T7" fmla="*/ 5809 h 2490"/>
              <a:gd name="T8" fmla="*/ 2385908 w 1716"/>
              <a:gd name="T9" fmla="*/ 0 h 2490"/>
              <a:gd name="T10" fmla="*/ 2233357 w 1716"/>
              <a:gd name="T11" fmla="*/ 11619 h 2490"/>
              <a:gd name="T12" fmla="*/ 2093009 w 1716"/>
              <a:gd name="T13" fmla="*/ 23237 h 2490"/>
              <a:gd name="T14" fmla="*/ 1946560 w 1716"/>
              <a:gd name="T15" fmla="*/ 23237 h 2490"/>
              <a:gd name="T16" fmla="*/ 1859605 w 1716"/>
              <a:gd name="T17" fmla="*/ 39213 h 2490"/>
              <a:gd name="T18" fmla="*/ 1794008 w 1716"/>
              <a:gd name="T19" fmla="*/ 34856 h 2490"/>
              <a:gd name="T20" fmla="*/ 1641456 w 1716"/>
              <a:gd name="T21" fmla="*/ 40665 h 2490"/>
              <a:gd name="T22" fmla="*/ 1507211 w 1716"/>
              <a:gd name="T23" fmla="*/ 58094 h 2490"/>
              <a:gd name="T24" fmla="*/ 1360761 w 1716"/>
              <a:gd name="T25" fmla="*/ 75522 h 2490"/>
              <a:gd name="T26" fmla="*/ 1202107 w 1716"/>
              <a:gd name="T27" fmla="*/ 110378 h 2490"/>
              <a:gd name="T28" fmla="*/ 1073964 w 1716"/>
              <a:gd name="T29" fmla="*/ 139425 h 2490"/>
              <a:gd name="T30" fmla="*/ 939719 w 1716"/>
              <a:gd name="T31" fmla="*/ 174281 h 2490"/>
              <a:gd name="T32" fmla="*/ 787167 w 1716"/>
              <a:gd name="T33" fmla="*/ 209137 h 2490"/>
              <a:gd name="T34" fmla="*/ 665125 w 1716"/>
              <a:gd name="T35" fmla="*/ 261421 h 2490"/>
              <a:gd name="T36" fmla="*/ 536982 w 1716"/>
              <a:gd name="T37" fmla="*/ 313705 h 2490"/>
              <a:gd name="T38" fmla="*/ 390532 w 1716"/>
              <a:gd name="T39" fmla="*/ 365989 h 2490"/>
              <a:gd name="T40" fmla="*/ 262389 w 1716"/>
              <a:gd name="T41" fmla="*/ 447321 h 2490"/>
              <a:gd name="T42" fmla="*/ 134245 w 1716"/>
              <a:gd name="T43" fmla="*/ 511223 h 2490"/>
              <a:gd name="T44" fmla="*/ 6102 w 1716"/>
              <a:gd name="T45" fmla="*/ 569317 h 2490"/>
              <a:gd name="T46" fmla="*/ 18306 w 1716"/>
              <a:gd name="T47" fmla="*/ 785716 h 2490"/>
              <a:gd name="T48" fmla="*/ 0 w 1716"/>
              <a:gd name="T49" fmla="*/ 3616325 h 249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716"/>
              <a:gd name="T76" fmla="*/ 0 h 2490"/>
              <a:gd name="T77" fmla="*/ 1716 w 1716"/>
              <a:gd name="T78" fmla="*/ 2490 h 2490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716" h="2490">
                <a:moveTo>
                  <a:pt x="0" y="2490"/>
                </a:moveTo>
                <a:lnTo>
                  <a:pt x="1708" y="2490"/>
                </a:lnTo>
                <a:lnTo>
                  <a:pt x="1716" y="0"/>
                </a:lnTo>
                <a:lnTo>
                  <a:pt x="1656" y="4"/>
                </a:lnTo>
                <a:lnTo>
                  <a:pt x="1564" y="0"/>
                </a:lnTo>
                <a:lnTo>
                  <a:pt x="1464" y="8"/>
                </a:lnTo>
                <a:lnTo>
                  <a:pt x="1372" y="16"/>
                </a:lnTo>
                <a:lnTo>
                  <a:pt x="1276" y="16"/>
                </a:lnTo>
                <a:lnTo>
                  <a:pt x="1219" y="27"/>
                </a:lnTo>
                <a:lnTo>
                  <a:pt x="1176" y="24"/>
                </a:lnTo>
                <a:lnTo>
                  <a:pt x="1076" y="28"/>
                </a:lnTo>
                <a:lnTo>
                  <a:pt x="988" y="40"/>
                </a:lnTo>
                <a:lnTo>
                  <a:pt x="892" y="52"/>
                </a:lnTo>
                <a:lnTo>
                  <a:pt x="788" y="76"/>
                </a:lnTo>
                <a:lnTo>
                  <a:pt x="704" y="96"/>
                </a:lnTo>
                <a:lnTo>
                  <a:pt x="616" y="120"/>
                </a:lnTo>
                <a:lnTo>
                  <a:pt x="516" y="144"/>
                </a:lnTo>
                <a:lnTo>
                  <a:pt x="436" y="180"/>
                </a:lnTo>
                <a:lnTo>
                  <a:pt x="352" y="216"/>
                </a:lnTo>
                <a:lnTo>
                  <a:pt x="256" y="252"/>
                </a:lnTo>
                <a:lnTo>
                  <a:pt x="172" y="308"/>
                </a:lnTo>
                <a:lnTo>
                  <a:pt x="88" y="352"/>
                </a:lnTo>
                <a:lnTo>
                  <a:pt x="4" y="392"/>
                </a:lnTo>
                <a:lnTo>
                  <a:pt x="12" y="541"/>
                </a:lnTo>
                <a:lnTo>
                  <a:pt x="0" y="2490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8" name="Freeform 7"/>
          <p:cNvSpPr/>
          <p:nvPr/>
        </p:nvSpPr>
        <p:spPr>
          <a:xfrm>
            <a:off x="656520" y="4190824"/>
            <a:ext cx="2643893" cy="1991523"/>
          </a:xfrm>
          <a:custGeom>
            <a:avLst/>
            <a:gdLst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38818 w 2643893"/>
              <a:gd name="connsiteY9" fmla="*/ 620596 h 2601796"/>
              <a:gd name="connsiteX10" fmla="*/ 181680 w 2643893"/>
              <a:gd name="connsiteY10" fmla="*/ 606308 h 2601796"/>
              <a:gd name="connsiteX11" fmla="*/ 210255 w 2643893"/>
              <a:gd name="connsiteY11" fmla="*/ 596783 h 2601796"/>
              <a:gd name="connsiteX12" fmla="*/ 224543 w 2643893"/>
              <a:gd name="connsiteY12" fmla="*/ 592021 h 2601796"/>
              <a:gd name="connsiteX13" fmla="*/ 234068 w 2643893"/>
              <a:gd name="connsiteY13" fmla="*/ 577733 h 2601796"/>
              <a:gd name="connsiteX14" fmla="*/ 262643 w 2643893"/>
              <a:gd name="connsiteY14" fmla="*/ 558683 h 2601796"/>
              <a:gd name="connsiteX15" fmla="*/ 276930 w 2643893"/>
              <a:gd name="connsiteY15" fmla="*/ 549158 h 2601796"/>
              <a:gd name="connsiteX16" fmla="*/ 305505 w 2643893"/>
              <a:gd name="connsiteY16" fmla="*/ 539633 h 2601796"/>
              <a:gd name="connsiteX17" fmla="*/ 334080 w 2643893"/>
              <a:gd name="connsiteY17" fmla="*/ 525346 h 2601796"/>
              <a:gd name="connsiteX18" fmla="*/ 362655 w 2643893"/>
              <a:gd name="connsiteY18" fmla="*/ 506296 h 2601796"/>
              <a:gd name="connsiteX19" fmla="*/ 391230 w 2643893"/>
              <a:gd name="connsiteY19" fmla="*/ 492008 h 2601796"/>
              <a:gd name="connsiteX20" fmla="*/ 410280 w 2643893"/>
              <a:gd name="connsiteY20" fmla="*/ 468196 h 2601796"/>
              <a:gd name="connsiteX21" fmla="*/ 434093 w 2643893"/>
              <a:gd name="connsiteY21" fmla="*/ 439621 h 2601796"/>
              <a:gd name="connsiteX22" fmla="*/ 462668 w 2643893"/>
              <a:gd name="connsiteY22" fmla="*/ 420571 h 2601796"/>
              <a:gd name="connsiteX23" fmla="*/ 472193 w 2643893"/>
              <a:gd name="connsiteY23" fmla="*/ 406283 h 2601796"/>
              <a:gd name="connsiteX24" fmla="*/ 505530 w 2643893"/>
              <a:gd name="connsiteY24" fmla="*/ 401521 h 2601796"/>
              <a:gd name="connsiteX25" fmla="*/ 534105 w 2643893"/>
              <a:gd name="connsiteY25" fmla="*/ 391996 h 2601796"/>
              <a:gd name="connsiteX26" fmla="*/ 562680 w 2643893"/>
              <a:gd name="connsiteY26" fmla="*/ 382471 h 2601796"/>
              <a:gd name="connsiteX27" fmla="*/ 576968 w 2643893"/>
              <a:gd name="connsiteY27" fmla="*/ 377708 h 2601796"/>
              <a:gd name="connsiteX28" fmla="*/ 586493 w 2643893"/>
              <a:gd name="connsiteY28" fmla="*/ 363421 h 2601796"/>
              <a:gd name="connsiteX29" fmla="*/ 600780 w 2643893"/>
              <a:gd name="connsiteY29" fmla="*/ 353896 h 2601796"/>
              <a:gd name="connsiteX30" fmla="*/ 653168 w 2643893"/>
              <a:gd name="connsiteY30" fmla="*/ 339608 h 2601796"/>
              <a:gd name="connsiteX31" fmla="*/ 667455 w 2643893"/>
              <a:gd name="connsiteY31" fmla="*/ 330083 h 2601796"/>
              <a:gd name="connsiteX32" fmla="*/ 696030 w 2643893"/>
              <a:gd name="connsiteY32" fmla="*/ 306271 h 2601796"/>
              <a:gd name="connsiteX33" fmla="*/ 724605 w 2643893"/>
              <a:gd name="connsiteY33" fmla="*/ 296746 h 2601796"/>
              <a:gd name="connsiteX34" fmla="*/ 753180 w 2643893"/>
              <a:gd name="connsiteY34" fmla="*/ 282458 h 2601796"/>
              <a:gd name="connsiteX35" fmla="*/ 781755 w 2643893"/>
              <a:gd name="connsiteY35" fmla="*/ 268171 h 2601796"/>
              <a:gd name="connsiteX36" fmla="*/ 796043 w 2643893"/>
              <a:gd name="connsiteY36" fmla="*/ 258646 h 2601796"/>
              <a:gd name="connsiteX37" fmla="*/ 810330 w 2643893"/>
              <a:gd name="connsiteY37" fmla="*/ 253883 h 2601796"/>
              <a:gd name="connsiteX38" fmla="*/ 819855 w 2643893"/>
              <a:gd name="connsiteY38" fmla="*/ 239596 h 2601796"/>
              <a:gd name="connsiteX39" fmla="*/ 838905 w 2643893"/>
              <a:gd name="connsiteY39" fmla="*/ 234833 h 2601796"/>
              <a:gd name="connsiteX40" fmla="*/ 867480 w 2643893"/>
              <a:gd name="connsiteY40" fmla="*/ 225308 h 2601796"/>
              <a:gd name="connsiteX41" fmla="*/ 896055 w 2643893"/>
              <a:gd name="connsiteY41" fmla="*/ 215783 h 2601796"/>
              <a:gd name="connsiteX42" fmla="*/ 910343 w 2643893"/>
              <a:gd name="connsiteY42" fmla="*/ 206258 h 2601796"/>
              <a:gd name="connsiteX43" fmla="*/ 924630 w 2643893"/>
              <a:gd name="connsiteY43" fmla="*/ 201496 h 2601796"/>
              <a:gd name="connsiteX44" fmla="*/ 938918 w 2643893"/>
              <a:gd name="connsiteY44" fmla="*/ 191971 h 2601796"/>
              <a:gd name="connsiteX45" fmla="*/ 977018 w 2643893"/>
              <a:gd name="connsiteY45" fmla="*/ 182446 h 2601796"/>
              <a:gd name="connsiteX46" fmla="*/ 1010355 w 2643893"/>
              <a:gd name="connsiteY46" fmla="*/ 172921 h 2601796"/>
              <a:gd name="connsiteX47" fmla="*/ 1053218 w 2643893"/>
              <a:gd name="connsiteY47" fmla="*/ 168158 h 2601796"/>
              <a:gd name="connsiteX48" fmla="*/ 1067505 w 2643893"/>
              <a:gd name="connsiteY48" fmla="*/ 158633 h 2601796"/>
              <a:gd name="connsiteX49" fmla="*/ 1105605 w 2643893"/>
              <a:gd name="connsiteY49" fmla="*/ 149108 h 2601796"/>
              <a:gd name="connsiteX50" fmla="*/ 1134180 w 2643893"/>
              <a:gd name="connsiteY50" fmla="*/ 134821 h 2601796"/>
              <a:gd name="connsiteX51" fmla="*/ 1148468 w 2643893"/>
              <a:gd name="connsiteY51" fmla="*/ 125296 h 2601796"/>
              <a:gd name="connsiteX52" fmla="*/ 1196093 w 2643893"/>
              <a:gd name="connsiteY52" fmla="*/ 111008 h 2601796"/>
              <a:gd name="connsiteX53" fmla="*/ 1224668 w 2643893"/>
              <a:gd name="connsiteY53" fmla="*/ 106246 h 2601796"/>
              <a:gd name="connsiteX54" fmla="*/ 1253243 w 2643893"/>
              <a:gd name="connsiteY54" fmla="*/ 96721 h 2601796"/>
              <a:gd name="connsiteX55" fmla="*/ 1329443 w 2643893"/>
              <a:gd name="connsiteY55" fmla="*/ 87196 h 2601796"/>
              <a:gd name="connsiteX56" fmla="*/ 1372305 w 2643893"/>
              <a:gd name="connsiteY56" fmla="*/ 77671 h 2601796"/>
              <a:gd name="connsiteX57" fmla="*/ 1415168 w 2643893"/>
              <a:gd name="connsiteY57" fmla="*/ 72908 h 2601796"/>
              <a:gd name="connsiteX58" fmla="*/ 1453268 w 2643893"/>
              <a:gd name="connsiteY58" fmla="*/ 63383 h 2601796"/>
              <a:gd name="connsiteX59" fmla="*/ 1524705 w 2643893"/>
              <a:gd name="connsiteY59" fmla="*/ 53858 h 2601796"/>
              <a:gd name="connsiteX60" fmla="*/ 1605668 w 2643893"/>
              <a:gd name="connsiteY60" fmla="*/ 39571 h 2601796"/>
              <a:gd name="connsiteX61" fmla="*/ 1705680 w 2643893"/>
              <a:gd name="connsiteY61" fmla="*/ 30046 h 2601796"/>
              <a:gd name="connsiteX62" fmla="*/ 1881893 w 2643893"/>
              <a:gd name="connsiteY62" fmla="*/ 20521 h 2601796"/>
              <a:gd name="connsiteX63" fmla="*/ 2329568 w 2643893"/>
              <a:gd name="connsiteY63" fmla="*/ 20521 h 2601796"/>
              <a:gd name="connsiteX64" fmla="*/ 2358143 w 2643893"/>
              <a:gd name="connsiteY64" fmla="*/ 30046 h 2601796"/>
              <a:gd name="connsiteX65" fmla="*/ 2386718 w 2643893"/>
              <a:gd name="connsiteY65" fmla="*/ 39571 h 2601796"/>
              <a:gd name="connsiteX66" fmla="*/ 2577218 w 2643893"/>
              <a:gd name="connsiteY66" fmla="*/ 44333 h 2601796"/>
              <a:gd name="connsiteX67" fmla="*/ 2615318 w 2643893"/>
              <a:gd name="connsiteY67" fmla="*/ 53858 h 2601796"/>
              <a:gd name="connsiteX68" fmla="*/ 2629605 w 2643893"/>
              <a:gd name="connsiteY68" fmla="*/ 63383 h 2601796"/>
              <a:gd name="connsiteX69" fmla="*/ 2643893 w 2643893"/>
              <a:gd name="connsiteY69" fmla="*/ 68146 h 2601796"/>
              <a:gd name="connsiteX70" fmla="*/ 2639130 w 2643893"/>
              <a:gd name="connsiteY70" fmla="*/ 2597033 h 2601796"/>
              <a:gd name="connsiteX71" fmla="*/ 705 w 2643893"/>
              <a:gd name="connsiteY71" fmla="*/ 2601796 h 2601796"/>
              <a:gd name="connsiteX72" fmla="*/ 705 w 2643893"/>
              <a:gd name="connsiteY72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224543 w 2643893"/>
              <a:gd name="connsiteY11" fmla="*/ 592021 h 2601796"/>
              <a:gd name="connsiteX12" fmla="*/ 234068 w 2643893"/>
              <a:gd name="connsiteY12" fmla="*/ 577733 h 2601796"/>
              <a:gd name="connsiteX13" fmla="*/ 262643 w 2643893"/>
              <a:gd name="connsiteY13" fmla="*/ 558683 h 2601796"/>
              <a:gd name="connsiteX14" fmla="*/ 276930 w 2643893"/>
              <a:gd name="connsiteY14" fmla="*/ 549158 h 2601796"/>
              <a:gd name="connsiteX15" fmla="*/ 305505 w 2643893"/>
              <a:gd name="connsiteY15" fmla="*/ 539633 h 2601796"/>
              <a:gd name="connsiteX16" fmla="*/ 334080 w 2643893"/>
              <a:gd name="connsiteY16" fmla="*/ 525346 h 2601796"/>
              <a:gd name="connsiteX17" fmla="*/ 362655 w 2643893"/>
              <a:gd name="connsiteY17" fmla="*/ 506296 h 2601796"/>
              <a:gd name="connsiteX18" fmla="*/ 391230 w 2643893"/>
              <a:gd name="connsiteY18" fmla="*/ 492008 h 2601796"/>
              <a:gd name="connsiteX19" fmla="*/ 410280 w 2643893"/>
              <a:gd name="connsiteY19" fmla="*/ 468196 h 2601796"/>
              <a:gd name="connsiteX20" fmla="*/ 434093 w 2643893"/>
              <a:gd name="connsiteY20" fmla="*/ 439621 h 2601796"/>
              <a:gd name="connsiteX21" fmla="*/ 462668 w 2643893"/>
              <a:gd name="connsiteY21" fmla="*/ 420571 h 2601796"/>
              <a:gd name="connsiteX22" fmla="*/ 472193 w 2643893"/>
              <a:gd name="connsiteY22" fmla="*/ 406283 h 2601796"/>
              <a:gd name="connsiteX23" fmla="*/ 505530 w 2643893"/>
              <a:gd name="connsiteY23" fmla="*/ 401521 h 2601796"/>
              <a:gd name="connsiteX24" fmla="*/ 534105 w 2643893"/>
              <a:gd name="connsiteY24" fmla="*/ 391996 h 2601796"/>
              <a:gd name="connsiteX25" fmla="*/ 562680 w 2643893"/>
              <a:gd name="connsiteY25" fmla="*/ 382471 h 2601796"/>
              <a:gd name="connsiteX26" fmla="*/ 576968 w 2643893"/>
              <a:gd name="connsiteY26" fmla="*/ 377708 h 2601796"/>
              <a:gd name="connsiteX27" fmla="*/ 586493 w 2643893"/>
              <a:gd name="connsiteY27" fmla="*/ 363421 h 2601796"/>
              <a:gd name="connsiteX28" fmla="*/ 600780 w 2643893"/>
              <a:gd name="connsiteY28" fmla="*/ 353896 h 2601796"/>
              <a:gd name="connsiteX29" fmla="*/ 653168 w 2643893"/>
              <a:gd name="connsiteY29" fmla="*/ 339608 h 2601796"/>
              <a:gd name="connsiteX30" fmla="*/ 667455 w 2643893"/>
              <a:gd name="connsiteY30" fmla="*/ 330083 h 2601796"/>
              <a:gd name="connsiteX31" fmla="*/ 696030 w 2643893"/>
              <a:gd name="connsiteY31" fmla="*/ 306271 h 2601796"/>
              <a:gd name="connsiteX32" fmla="*/ 724605 w 2643893"/>
              <a:gd name="connsiteY32" fmla="*/ 296746 h 2601796"/>
              <a:gd name="connsiteX33" fmla="*/ 753180 w 2643893"/>
              <a:gd name="connsiteY33" fmla="*/ 282458 h 2601796"/>
              <a:gd name="connsiteX34" fmla="*/ 781755 w 2643893"/>
              <a:gd name="connsiteY34" fmla="*/ 268171 h 2601796"/>
              <a:gd name="connsiteX35" fmla="*/ 796043 w 2643893"/>
              <a:gd name="connsiteY35" fmla="*/ 258646 h 2601796"/>
              <a:gd name="connsiteX36" fmla="*/ 810330 w 2643893"/>
              <a:gd name="connsiteY36" fmla="*/ 253883 h 2601796"/>
              <a:gd name="connsiteX37" fmla="*/ 819855 w 2643893"/>
              <a:gd name="connsiteY37" fmla="*/ 239596 h 2601796"/>
              <a:gd name="connsiteX38" fmla="*/ 838905 w 2643893"/>
              <a:gd name="connsiteY38" fmla="*/ 234833 h 2601796"/>
              <a:gd name="connsiteX39" fmla="*/ 867480 w 2643893"/>
              <a:gd name="connsiteY39" fmla="*/ 225308 h 2601796"/>
              <a:gd name="connsiteX40" fmla="*/ 896055 w 2643893"/>
              <a:gd name="connsiteY40" fmla="*/ 215783 h 2601796"/>
              <a:gd name="connsiteX41" fmla="*/ 910343 w 2643893"/>
              <a:gd name="connsiteY41" fmla="*/ 206258 h 2601796"/>
              <a:gd name="connsiteX42" fmla="*/ 924630 w 2643893"/>
              <a:gd name="connsiteY42" fmla="*/ 201496 h 2601796"/>
              <a:gd name="connsiteX43" fmla="*/ 938918 w 2643893"/>
              <a:gd name="connsiteY43" fmla="*/ 191971 h 2601796"/>
              <a:gd name="connsiteX44" fmla="*/ 977018 w 2643893"/>
              <a:gd name="connsiteY44" fmla="*/ 182446 h 2601796"/>
              <a:gd name="connsiteX45" fmla="*/ 1010355 w 2643893"/>
              <a:gd name="connsiteY45" fmla="*/ 172921 h 2601796"/>
              <a:gd name="connsiteX46" fmla="*/ 1053218 w 2643893"/>
              <a:gd name="connsiteY46" fmla="*/ 168158 h 2601796"/>
              <a:gd name="connsiteX47" fmla="*/ 1067505 w 2643893"/>
              <a:gd name="connsiteY47" fmla="*/ 158633 h 2601796"/>
              <a:gd name="connsiteX48" fmla="*/ 1105605 w 2643893"/>
              <a:gd name="connsiteY48" fmla="*/ 149108 h 2601796"/>
              <a:gd name="connsiteX49" fmla="*/ 1134180 w 2643893"/>
              <a:gd name="connsiteY49" fmla="*/ 134821 h 2601796"/>
              <a:gd name="connsiteX50" fmla="*/ 1148468 w 2643893"/>
              <a:gd name="connsiteY50" fmla="*/ 125296 h 2601796"/>
              <a:gd name="connsiteX51" fmla="*/ 1196093 w 2643893"/>
              <a:gd name="connsiteY51" fmla="*/ 111008 h 2601796"/>
              <a:gd name="connsiteX52" fmla="*/ 1224668 w 2643893"/>
              <a:gd name="connsiteY52" fmla="*/ 106246 h 2601796"/>
              <a:gd name="connsiteX53" fmla="*/ 1253243 w 2643893"/>
              <a:gd name="connsiteY53" fmla="*/ 96721 h 2601796"/>
              <a:gd name="connsiteX54" fmla="*/ 1329443 w 2643893"/>
              <a:gd name="connsiteY54" fmla="*/ 87196 h 2601796"/>
              <a:gd name="connsiteX55" fmla="*/ 1372305 w 2643893"/>
              <a:gd name="connsiteY55" fmla="*/ 77671 h 2601796"/>
              <a:gd name="connsiteX56" fmla="*/ 1415168 w 2643893"/>
              <a:gd name="connsiteY56" fmla="*/ 72908 h 2601796"/>
              <a:gd name="connsiteX57" fmla="*/ 1453268 w 2643893"/>
              <a:gd name="connsiteY57" fmla="*/ 63383 h 2601796"/>
              <a:gd name="connsiteX58" fmla="*/ 1524705 w 2643893"/>
              <a:gd name="connsiteY58" fmla="*/ 53858 h 2601796"/>
              <a:gd name="connsiteX59" fmla="*/ 1605668 w 2643893"/>
              <a:gd name="connsiteY59" fmla="*/ 39571 h 2601796"/>
              <a:gd name="connsiteX60" fmla="*/ 1705680 w 2643893"/>
              <a:gd name="connsiteY60" fmla="*/ 30046 h 2601796"/>
              <a:gd name="connsiteX61" fmla="*/ 1881893 w 2643893"/>
              <a:gd name="connsiteY61" fmla="*/ 20521 h 2601796"/>
              <a:gd name="connsiteX62" fmla="*/ 2329568 w 2643893"/>
              <a:gd name="connsiteY62" fmla="*/ 20521 h 2601796"/>
              <a:gd name="connsiteX63" fmla="*/ 2358143 w 2643893"/>
              <a:gd name="connsiteY63" fmla="*/ 30046 h 2601796"/>
              <a:gd name="connsiteX64" fmla="*/ 2386718 w 2643893"/>
              <a:gd name="connsiteY64" fmla="*/ 39571 h 2601796"/>
              <a:gd name="connsiteX65" fmla="*/ 2577218 w 2643893"/>
              <a:gd name="connsiteY65" fmla="*/ 44333 h 2601796"/>
              <a:gd name="connsiteX66" fmla="*/ 2615318 w 2643893"/>
              <a:gd name="connsiteY66" fmla="*/ 53858 h 2601796"/>
              <a:gd name="connsiteX67" fmla="*/ 2629605 w 2643893"/>
              <a:gd name="connsiteY67" fmla="*/ 63383 h 2601796"/>
              <a:gd name="connsiteX68" fmla="*/ 2643893 w 2643893"/>
              <a:gd name="connsiteY68" fmla="*/ 68146 h 2601796"/>
              <a:gd name="connsiteX69" fmla="*/ 2639130 w 2643893"/>
              <a:gd name="connsiteY69" fmla="*/ 2597033 h 2601796"/>
              <a:gd name="connsiteX70" fmla="*/ 705 w 2643893"/>
              <a:gd name="connsiteY70" fmla="*/ 2601796 h 2601796"/>
              <a:gd name="connsiteX71" fmla="*/ 705 w 2643893"/>
              <a:gd name="connsiteY71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224543 w 2643893"/>
              <a:gd name="connsiteY11" fmla="*/ 592021 h 2601796"/>
              <a:gd name="connsiteX12" fmla="*/ 234068 w 2643893"/>
              <a:gd name="connsiteY12" fmla="*/ 577733 h 2601796"/>
              <a:gd name="connsiteX13" fmla="*/ 262643 w 2643893"/>
              <a:gd name="connsiteY13" fmla="*/ 558683 h 2601796"/>
              <a:gd name="connsiteX14" fmla="*/ 305505 w 2643893"/>
              <a:gd name="connsiteY14" fmla="*/ 539633 h 2601796"/>
              <a:gd name="connsiteX15" fmla="*/ 334080 w 2643893"/>
              <a:gd name="connsiteY15" fmla="*/ 525346 h 2601796"/>
              <a:gd name="connsiteX16" fmla="*/ 362655 w 2643893"/>
              <a:gd name="connsiteY16" fmla="*/ 506296 h 2601796"/>
              <a:gd name="connsiteX17" fmla="*/ 391230 w 2643893"/>
              <a:gd name="connsiteY17" fmla="*/ 492008 h 2601796"/>
              <a:gd name="connsiteX18" fmla="*/ 410280 w 2643893"/>
              <a:gd name="connsiteY18" fmla="*/ 468196 h 2601796"/>
              <a:gd name="connsiteX19" fmla="*/ 434093 w 2643893"/>
              <a:gd name="connsiteY19" fmla="*/ 439621 h 2601796"/>
              <a:gd name="connsiteX20" fmla="*/ 462668 w 2643893"/>
              <a:gd name="connsiteY20" fmla="*/ 420571 h 2601796"/>
              <a:gd name="connsiteX21" fmla="*/ 472193 w 2643893"/>
              <a:gd name="connsiteY21" fmla="*/ 406283 h 2601796"/>
              <a:gd name="connsiteX22" fmla="*/ 505530 w 2643893"/>
              <a:gd name="connsiteY22" fmla="*/ 401521 h 2601796"/>
              <a:gd name="connsiteX23" fmla="*/ 534105 w 2643893"/>
              <a:gd name="connsiteY23" fmla="*/ 391996 h 2601796"/>
              <a:gd name="connsiteX24" fmla="*/ 562680 w 2643893"/>
              <a:gd name="connsiteY24" fmla="*/ 382471 h 2601796"/>
              <a:gd name="connsiteX25" fmla="*/ 576968 w 2643893"/>
              <a:gd name="connsiteY25" fmla="*/ 377708 h 2601796"/>
              <a:gd name="connsiteX26" fmla="*/ 586493 w 2643893"/>
              <a:gd name="connsiteY26" fmla="*/ 363421 h 2601796"/>
              <a:gd name="connsiteX27" fmla="*/ 600780 w 2643893"/>
              <a:gd name="connsiteY27" fmla="*/ 353896 h 2601796"/>
              <a:gd name="connsiteX28" fmla="*/ 653168 w 2643893"/>
              <a:gd name="connsiteY28" fmla="*/ 339608 h 2601796"/>
              <a:gd name="connsiteX29" fmla="*/ 667455 w 2643893"/>
              <a:gd name="connsiteY29" fmla="*/ 330083 h 2601796"/>
              <a:gd name="connsiteX30" fmla="*/ 696030 w 2643893"/>
              <a:gd name="connsiteY30" fmla="*/ 306271 h 2601796"/>
              <a:gd name="connsiteX31" fmla="*/ 724605 w 2643893"/>
              <a:gd name="connsiteY31" fmla="*/ 296746 h 2601796"/>
              <a:gd name="connsiteX32" fmla="*/ 753180 w 2643893"/>
              <a:gd name="connsiteY32" fmla="*/ 282458 h 2601796"/>
              <a:gd name="connsiteX33" fmla="*/ 781755 w 2643893"/>
              <a:gd name="connsiteY33" fmla="*/ 268171 h 2601796"/>
              <a:gd name="connsiteX34" fmla="*/ 796043 w 2643893"/>
              <a:gd name="connsiteY34" fmla="*/ 258646 h 2601796"/>
              <a:gd name="connsiteX35" fmla="*/ 810330 w 2643893"/>
              <a:gd name="connsiteY35" fmla="*/ 253883 h 2601796"/>
              <a:gd name="connsiteX36" fmla="*/ 819855 w 2643893"/>
              <a:gd name="connsiteY36" fmla="*/ 239596 h 2601796"/>
              <a:gd name="connsiteX37" fmla="*/ 838905 w 2643893"/>
              <a:gd name="connsiteY37" fmla="*/ 234833 h 2601796"/>
              <a:gd name="connsiteX38" fmla="*/ 867480 w 2643893"/>
              <a:gd name="connsiteY38" fmla="*/ 225308 h 2601796"/>
              <a:gd name="connsiteX39" fmla="*/ 896055 w 2643893"/>
              <a:gd name="connsiteY39" fmla="*/ 215783 h 2601796"/>
              <a:gd name="connsiteX40" fmla="*/ 910343 w 2643893"/>
              <a:gd name="connsiteY40" fmla="*/ 206258 h 2601796"/>
              <a:gd name="connsiteX41" fmla="*/ 924630 w 2643893"/>
              <a:gd name="connsiteY41" fmla="*/ 201496 h 2601796"/>
              <a:gd name="connsiteX42" fmla="*/ 938918 w 2643893"/>
              <a:gd name="connsiteY42" fmla="*/ 191971 h 2601796"/>
              <a:gd name="connsiteX43" fmla="*/ 977018 w 2643893"/>
              <a:gd name="connsiteY43" fmla="*/ 182446 h 2601796"/>
              <a:gd name="connsiteX44" fmla="*/ 1010355 w 2643893"/>
              <a:gd name="connsiteY44" fmla="*/ 172921 h 2601796"/>
              <a:gd name="connsiteX45" fmla="*/ 1053218 w 2643893"/>
              <a:gd name="connsiteY45" fmla="*/ 168158 h 2601796"/>
              <a:gd name="connsiteX46" fmla="*/ 1067505 w 2643893"/>
              <a:gd name="connsiteY46" fmla="*/ 158633 h 2601796"/>
              <a:gd name="connsiteX47" fmla="*/ 1105605 w 2643893"/>
              <a:gd name="connsiteY47" fmla="*/ 149108 h 2601796"/>
              <a:gd name="connsiteX48" fmla="*/ 1134180 w 2643893"/>
              <a:gd name="connsiteY48" fmla="*/ 134821 h 2601796"/>
              <a:gd name="connsiteX49" fmla="*/ 1148468 w 2643893"/>
              <a:gd name="connsiteY49" fmla="*/ 125296 h 2601796"/>
              <a:gd name="connsiteX50" fmla="*/ 1196093 w 2643893"/>
              <a:gd name="connsiteY50" fmla="*/ 111008 h 2601796"/>
              <a:gd name="connsiteX51" fmla="*/ 1224668 w 2643893"/>
              <a:gd name="connsiteY51" fmla="*/ 106246 h 2601796"/>
              <a:gd name="connsiteX52" fmla="*/ 1253243 w 2643893"/>
              <a:gd name="connsiteY52" fmla="*/ 96721 h 2601796"/>
              <a:gd name="connsiteX53" fmla="*/ 1329443 w 2643893"/>
              <a:gd name="connsiteY53" fmla="*/ 87196 h 2601796"/>
              <a:gd name="connsiteX54" fmla="*/ 1372305 w 2643893"/>
              <a:gd name="connsiteY54" fmla="*/ 77671 h 2601796"/>
              <a:gd name="connsiteX55" fmla="*/ 1415168 w 2643893"/>
              <a:gd name="connsiteY55" fmla="*/ 72908 h 2601796"/>
              <a:gd name="connsiteX56" fmla="*/ 1453268 w 2643893"/>
              <a:gd name="connsiteY56" fmla="*/ 63383 h 2601796"/>
              <a:gd name="connsiteX57" fmla="*/ 1524705 w 2643893"/>
              <a:gd name="connsiteY57" fmla="*/ 53858 h 2601796"/>
              <a:gd name="connsiteX58" fmla="*/ 1605668 w 2643893"/>
              <a:gd name="connsiteY58" fmla="*/ 39571 h 2601796"/>
              <a:gd name="connsiteX59" fmla="*/ 1705680 w 2643893"/>
              <a:gd name="connsiteY59" fmla="*/ 30046 h 2601796"/>
              <a:gd name="connsiteX60" fmla="*/ 1881893 w 2643893"/>
              <a:gd name="connsiteY60" fmla="*/ 20521 h 2601796"/>
              <a:gd name="connsiteX61" fmla="*/ 2329568 w 2643893"/>
              <a:gd name="connsiteY61" fmla="*/ 20521 h 2601796"/>
              <a:gd name="connsiteX62" fmla="*/ 2358143 w 2643893"/>
              <a:gd name="connsiteY62" fmla="*/ 30046 h 2601796"/>
              <a:gd name="connsiteX63" fmla="*/ 2386718 w 2643893"/>
              <a:gd name="connsiteY63" fmla="*/ 39571 h 2601796"/>
              <a:gd name="connsiteX64" fmla="*/ 2577218 w 2643893"/>
              <a:gd name="connsiteY64" fmla="*/ 44333 h 2601796"/>
              <a:gd name="connsiteX65" fmla="*/ 2615318 w 2643893"/>
              <a:gd name="connsiteY65" fmla="*/ 53858 h 2601796"/>
              <a:gd name="connsiteX66" fmla="*/ 2629605 w 2643893"/>
              <a:gd name="connsiteY66" fmla="*/ 63383 h 2601796"/>
              <a:gd name="connsiteX67" fmla="*/ 2643893 w 2643893"/>
              <a:gd name="connsiteY67" fmla="*/ 68146 h 2601796"/>
              <a:gd name="connsiteX68" fmla="*/ 2639130 w 2643893"/>
              <a:gd name="connsiteY68" fmla="*/ 2597033 h 2601796"/>
              <a:gd name="connsiteX69" fmla="*/ 705 w 2643893"/>
              <a:gd name="connsiteY69" fmla="*/ 2601796 h 2601796"/>
              <a:gd name="connsiteX70" fmla="*/ 705 w 2643893"/>
              <a:gd name="connsiteY70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224543 w 2643893"/>
              <a:gd name="connsiteY11" fmla="*/ 592021 h 2601796"/>
              <a:gd name="connsiteX12" fmla="*/ 234068 w 2643893"/>
              <a:gd name="connsiteY12" fmla="*/ 577733 h 2601796"/>
              <a:gd name="connsiteX13" fmla="*/ 262643 w 2643893"/>
              <a:gd name="connsiteY13" fmla="*/ 558683 h 2601796"/>
              <a:gd name="connsiteX14" fmla="*/ 305505 w 2643893"/>
              <a:gd name="connsiteY14" fmla="*/ 539633 h 2601796"/>
              <a:gd name="connsiteX15" fmla="*/ 362655 w 2643893"/>
              <a:gd name="connsiteY15" fmla="*/ 506296 h 2601796"/>
              <a:gd name="connsiteX16" fmla="*/ 391230 w 2643893"/>
              <a:gd name="connsiteY16" fmla="*/ 492008 h 2601796"/>
              <a:gd name="connsiteX17" fmla="*/ 410280 w 2643893"/>
              <a:gd name="connsiteY17" fmla="*/ 468196 h 2601796"/>
              <a:gd name="connsiteX18" fmla="*/ 434093 w 2643893"/>
              <a:gd name="connsiteY18" fmla="*/ 439621 h 2601796"/>
              <a:gd name="connsiteX19" fmla="*/ 462668 w 2643893"/>
              <a:gd name="connsiteY19" fmla="*/ 420571 h 2601796"/>
              <a:gd name="connsiteX20" fmla="*/ 472193 w 2643893"/>
              <a:gd name="connsiteY20" fmla="*/ 406283 h 2601796"/>
              <a:gd name="connsiteX21" fmla="*/ 505530 w 2643893"/>
              <a:gd name="connsiteY21" fmla="*/ 401521 h 2601796"/>
              <a:gd name="connsiteX22" fmla="*/ 534105 w 2643893"/>
              <a:gd name="connsiteY22" fmla="*/ 391996 h 2601796"/>
              <a:gd name="connsiteX23" fmla="*/ 562680 w 2643893"/>
              <a:gd name="connsiteY23" fmla="*/ 382471 h 2601796"/>
              <a:gd name="connsiteX24" fmla="*/ 576968 w 2643893"/>
              <a:gd name="connsiteY24" fmla="*/ 377708 h 2601796"/>
              <a:gd name="connsiteX25" fmla="*/ 586493 w 2643893"/>
              <a:gd name="connsiteY25" fmla="*/ 363421 h 2601796"/>
              <a:gd name="connsiteX26" fmla="*/ 600780 w 2643893"/>
              <a:gd name="connsiteY26" fmla="*/ 353896 h 2601796"/>
              <a:gd name="connsiteX27" fmla="*/ 653168 w 2643893"/>
              <a:gd name="connsiteY27" fmla="*/ 339608 h 2601796"/>
              <a:gd name="connsiteX28" fmla="*/ 667455 w 2643893"/>
              <a:gd name="connsiteY28" fmla="*/ 330083 h 2601796"/>
              <a:gd name="connsiteX29" fmla="*/ 696030 w 2643893"/>
              <a:gd name="connsiteY29" fmla="*/ 306271 h 2601796"/>
              <a:gd name="connsiteX30" fmla="*/ 724605 w 2643893"/>
              <a:gd name="connsiteY30" fmla="*/ 296746 h 2601796"/>
              <a:gd name="connsiteX31" fmla="*/ 753180 w 2643893"/>
              <a:gd name="connsiteY31" fmla="*/ 282458 h 2601796"/>
              <a:gd name="connsiteX32" fmla="*/ 781755 w 2643893"/>
              <a:gd name="connsiteY32" fmla="*/ 268171 h 2601796"/>
              <a:gd name="connsiteX33" fmla="*/ 796043 w 2643893"/>
              <a:gd name="connsiteY33" fmla="*/ 258646 h 2601796"/>
              <a:gd name="connsiteX34" fmla="*/ 810330 w 2643893"/>
              <a:gd name="connsiteY34" fmla="*/ 253883 h 2601796"/>
              <a:gd name="connsiteX35" fmla="*/ 819855 w 2643893"/>
              <a:gd name="connsiteY35" fmla="*/ 239596 h 2601796"/>
              <a:gd name="connsiteX36" fmla="*/ 838905 w 2643893"/>
              <a:gd name="connsiteY36" fmla="*/ 234833 h 2601796"/>
              <a:gd name="connsiteX37" fmla="*/ 867480 w 2643893"/>
              <a:gd name="connsiteY37" fmla="*/ 225308 h 2601796"/>
              <a:gd name="connsiteX38" fmla="*/ 896055 w 2643893"/>
              <a:gd name="connsiteY38" fmla="*/ 215783 h 2601796"/>
              <a:gd name="connsiteX39" fmla="*/ 910343 w 2643893"/>
              <a:gd name="connsiteY39" fmla="*/ 206258 h 2601796"/>
              <a:gd name="connsiteX40" fmla="*/ 924630 w 2643893"/>
              <a:gd name="connsiteY40" fmla="*/ 201496 h 2601796"/>
              <a:gd name="connsiteX41" fmla="*/ 938918 w 2643893"/>
              <a:gd name="connsiteY41" fmla="*/ 191971 h 2601796"/>
              <a:gd name="connsiteX42" fmla="*/ 977018 w 2643893"/>
              <a:gd name="connsiteY42" fmla="*/ 182446 h 2601796"/>
              <a:gd name="connsiteX43" fmla="*/ 1010355 w 2643893"/>
              <a:gd name="connsiteY43" fmla="*/ 172921 h 2601796"/>
              <a:gd name="connsiteX44" fmla="*/ 1053218 w 2643893"/>
              <a:gd name="connsiteY44" fmla="*/ 168158 h 2601796"/>
              <a:gd name="connsiteX45" fmla="*/ 1067505 w 2643893"/>
              <a:gd name="connsiteY45" fmla="*/ 158633 h 2601796"/>
              <a:gd name="connsiteX46" fmla="*/ 1105605 w 2643893"/>
              <a:gd name="connsiteY46" fmla="*/ 149108 h 2601796"/>
              <a:gd name="connsiteX47" fmla="*/ 1134180 w 2643893"/>
              <a:gd name="connsiteY47" fmla="*/ 134821 h 2601796"/>
              <a:gd name="connsiteX48" fmla="*/ 1148468 w 2643893"/>
              <a:gd name="connsiteY48" fmla="*/ 125296 h 2601796"/>
              <a:gd name="connsiteX49" fmla="*/ 1196093 w 2643893"/>
              <a:gd name="connsiteY49" fmla="*/ 111008 h 2601796"/>
              <a:gd name="connsiteX50" fmla="*/ 1224668 w 2643893"/>
              <a:gd name="connsiteY50" fmla="*/ 106246 h 2601796"/>
              <a:gd name="connsiteX51" fmla="*/ 1253243 w 2643893"/>
              <a:gd name="connsiteY51" fmla="*/ 96721 h 2601796"/>
              <a:gd name="connsiteX52" fmla="*/ 1329443 w 2643893"/>
              <a:gd name="connsiteY52" fmla="*/ 87196 h 2601796"/>
              <a:gd name="connsiteX53" fmla="*/ 1372305 w 2643893"/>
              <a:gd name="connsiteY53" fmla="*/ 77671 h 2601796"/>
              <a:gd name="connsiteX54" fmla="*/ 1415168 w 2643893"/>
              <a:gd name="connsiteY54" fmla="*/ 72908 h 2601796"/>
              <a:gd name="connsiteX55" fmla="*/ 1453268 w 2643893"/>
              <a:gd name="connsiteY55" fmla="*/ 63383 h 2601796"/>
              <a:gd name="connsiteX56" fmla="*/ 1524705 w 2643893"/>
              <a:gd name="connsiteY56" fmla="*/ 53858 h 2601796"/>
              <a:gd name="connsiteX57" fmla="*/ 1605668 w 2643893"/>
              <a:gd name="connsiteY57" fmla="*/ 39571 h 2601796"/>
              <a:gd name="connsiteX58" fmla="*/ 1705680 w 2643893"/>
              <a:gd name="connsiteY58" fmla="*/ 30046 h 2601796"/>
              <a:gd name="connsiteX59" fmla="*/ 1881893 w 2643893"/>
              <a:gd name="connsiteY59" fmla="*/ 20521 h 2601796"/>
              <a:gd name="connsiteX60" fmla="*/ 2329568 w 2643893"/>
              <a:gd name="connsiteY60" fmla="*/ 20521 h 2601796"/>
              <a:gd name="connsiteX61" fmla="*/ 2358143 w 2643893"/>
              <a:gd name="connsiteY61" fmla="*/ 30046 h 2601796"/>
              <a:gd name="connsiteX62" fmla="*/ 2386718 w 2643893"/>
              <a:gd name="connsiteY62" fmla="*/ 39571 h 2601796"/>
              <a:gd name="connsiteX63" fmla="*/ 2577218 w 2643893"/>
              <a:gd name="connsiteY63" fmla="*/ 44333 h 2601796"/>
              <a:gd name="connsiteX64" fmla="*/ 2615318 w 2643893"/>
              <a:gd name="connsiteY64" fmla="*/ 53858 h 2601796"/>
              <a:gd name="connsiteX65" fmla="*/ 2629605 w 2643893"/>
              <a:gd name="connsiteY65" fmla="*/ 63383 h 2601796"/>
              <a:gd name="connsiteX66" fmla="*/ 2643893 w 2643893"/>
              <a:gd name="connsiteY66" fmla="*/ 68146 h 2601796"/>
              <a:gd name="connsiteX67" fmla="*/ 2639130 w 2643893"/>
              <a:gd name="connsiteY67" fmla="*/ 2597033 h 2601796"/>
              <a:gd name="connsiteX68" fmla="*/ 705 w 2643893"/>
              <a:gd name="connsiteY68" fmla="*/ 2601796 h 2601796"/>
              <a:gd name="connsiteX69" fmla="*/ 705 w 2643893"/>
              <a:gd name="connsiteY69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224543 w 2643893"/>
              <a:gd name="connsiteY11" fmla="*/ 592021 h 2601796"/>
              <a:gd name="connsiteX12" fmla="*/ 234068 w 2643893"/>
              <a:gd name="connsiteY12" fmla="*/ 577733 h 2601796"/>
              <a:gd name="connsiteX13" fmla="*/ 262643 w 2643893"/>
              <a:gd name="connsiteY13" fmla="*/ 558683 h 2601796"/>
              <a:gd name="connsiteX14" fmla="*/ 362655 w 2643893"/>
              <a:gd name="connsiteY14" fmla="*/ 506296 h 2601796"/>
              <a:gd name="connsiteX15" fmla="*/ 391230 w 2643893"/>
              <a:gd name="connsiteY15" fmla="*/ 492008 h 2601796"/>
              <a:gd name="connsiteX16" fmla="*/ 410280 w 2643893"/>
              <a:gd name="connsiteY16" fmla="*/ 468196 h 2601796"/>
              <a:gd name="connsiteX17" fmla="*/ 434093 w 2643893"/>
              <a:gd name="connsiteY17" fmla="*/ 439621 h 2601796"/>
              <a:gd name="connsiteX18" fmla="*/ 462668 w 2643893"/>
              <a:gd name="connsiteY18" fmla="*/ 420571 h 2601796"/>
              <a:gd name="connsiteX19" fmla="*/ 472193 w 2643893"/>
              <a:gd name="connsiteY19" fmla="*/ 406283 h 2601796"/>
              <a:gd name="connsiteX20" fmla="*/ 505530 w 2643893"/>
              <a:gd name="connsiteY20" fmla="*/ 401521 h 2601796"/>
              <a:gd name="connsiteX21" fmla="*/ 534105 w 2643893"/>
              <a:gd name="connsiteY21" fmla="*/ 391996 h 2601796"/>
              <a:gd name="connsiteX22" fmla="*/ 562680 w 2643893"/>
              <a:gd name="connsiteY22" fmla="*/ 382471 h 2601796"/>
              <a:gd name="connsiteX23" fmla="*/ 576968 w 2643893"/>
              <a:gd name="connsiteY23" fmla="*/ 377708 h 2601796"/>
              <a:gd name="connsiteX24" fmla="*/ 586493 w 2643893"/>
              <a:gd name="connsiteY24" fmla="*/ 363421 h 2601796"/>
              <a:gd name="connsiteX25" fmla="*/ 600780 w 2643893"/>
              <a:gd name="connsiteY25" fmla="*/ 353896 h 2601796"/>
              <a:gd name="connsiteX26" fmla="*/ 653168 w 2643893"/>
              <a:gd name="connsiteY26" fmla="*/ 339608 h 2601796"/>
              <a:gd name="connsiteX27" fmla="*/ 667455 w 2643893"/>
              <a:gd name="connsiteY27" fmla="*/ 330083 h 2601796"/>
              <a:gd name="connsiteX28" fmla="*/ 696030 w 2643893"/>
              <a:gd name="connsiteY28" fmla="*/ 306271 h 2601796"/>
              <a:gd name="connsiteX29" fmla="*/ 724605 w 2643893"/>
              <a:gd name="connsiteY29" fmla="*/ 296746 h 2601796"/>
              <a:gd name="connsiteX30" fmla="*/ 753180 w 2643893"/>
              <a:gd name="connsiteY30" fmla="*/ 282458 h 2601796"/>
              <a:gd name="connsiteX31" fmla="*/ 781755 w 2643893"/>
              <a:gd name="connsiteY31" fmla="*/ 268171 h 2601796"/>
              <a:gd name="connsiteX32" fmla="*/ 796043 w 2643893"/>
              <a:gd name="connsiteY32" fmla="*/ 258646 h 2601796"/>
              <a:gd name="connsiteX33" fmla="*/ 810330 w 2643893"/>
              <a:gd name="connsiteY33" fmla="*/ 253883 h 2601796"/>
              <a:gd name="connsiteX34" fmla="*/ 819855 w 2643893"/>
              <a:gd name="connsiteY34" fmla="*/ 239596 h 2601796"/>
              <a:gd name="connsiteX35" fmla="*/ 838905 w 2643893"/>
              <a:gd name="connsiteY35" fmla="*/ 234833 h 2601796"/>
              <a:gd name="connsiteX36" fmla="*/ 867480 w 2643893"/>
              <a:gd name="connsiteY36" fmla="*/ 225308 h 2601796"/>
              <a:gd name="connsiteX37" fmla="*/ 896055 w 2643893"/>
              <a:gd name="connsiteY37" fmla="*/ 215783 h 2601796"/>
              <a:gd name="connsiteX38" fmla="*/ 910343 w 2643893"/>
              <a:gd name="connsiteY38" fmla="*/ 206258 h 2601796"/>
              <a:gd name="connsiteX39" fmla="*/ 924630 w 2643893"/>
              <a:gd name="connsiteY39" fmla="*/ 201496 h 2601796"/>
              <a:gd name="connsiteX40" fmla="*/ 938918 w 2643893"/>
              <a:gd name="connsiteY40" fmla="*/ 191971 h 2601796"/>
              <a:gd name="connsiteX41" fmla="*/ 977018 w 2643893"/>
              <a:gd name="connsiteY41" fmla="*/ 182446 h 2601796"/>
              <a:gd name="connsiteX42" fmla="*/ 1010355 w 2643893"/>
              <a:gd name="connsiteY42" fmla="*/ 172921 h 2601796"/>
              <a:gd name="connsiteX43" fmla="*/ 1053218 w 2643893"/>
              <a:gd name="connsiteY43" fmla="*/ 168158 h 2601796"/>
              <a:gd name="connsiteX44" fmla="*/ 1067505 w 2643893"/>
              <a:gd name="connsiteY44" fmla="*/ 158633 h 2601796"/>
              <a:gd name="connsiteX45" fmla="*/ 1105605 w 2643893"/>
              <a:gd name="connsiteY45" fmla="*/ 149108 h 2601796"/>
              <a:gd name="connsiteX46" fmla="*/ 1134180 w 2643893"/>
              <a:gd name="connsiteY46" fmla="*/ 134821 h 2601796"/>
              <a:gd name="connsiteX47" fmla="*/ 1148468 w 2643893"/>
              <a:gd name="connsiteY47" fmla="*/ 125296 h 2601796"/>
              <a:gd name="connsiteX48" fmla="*/ 1196093 w 2643893"/>
              <a:gd name="connsiteY48" fmla="*/ 111008 h 2601796"/>
              <a:gd name="connsiteX49" fmla="*/ 1224668 w 2643893"/>
              <a:gd name="connsiteY49" fmla="*/ 106246 h 2601796"/>
              <a:gd name="connsiteX50" fmla="*/ 1253243 w 2643893"/>
              <a:gd name="connsiteY50" fmla="*/ 96721 h 2601796"/>
              <a:gd name="connsiteX51" fmla="*/ 1329443 w 2643893"/>
              <a:gd name="connsiteY51" fmla="*/ 87196 h 2601796"/>
              <a:gd name="connsiteX52" fmla="*/ 1372305 w 2643893"/>
              <a:gd name="connsiteY52" fmla="*/ 77671 h 2601796"/>
              <a:gd name="connsiteX53" fmla="*/ 1415168 w 2643893"/>
              <a:gd name="connsiteY53" fmla="*/ 72908 h 2601796"/>
              <a:gd name="connsiteX54" fmla="*/ 1453268 w 2643893"/>
              <a:gd name="connsiteY54" fmla="*/ 63383 h 2601796"/>
              <a:gd name="connsiteX55" fmla="*/ 1524705 w 2643893"/>
              <a:gd name="connsiteY55" fmla="*/ 53858 h 2601796"/>
              <a:gd name="connsiteX56" fmla="*/ 1605668 w 2643893"/>
              <a:gd name="connsiteY56" fmla="*/ 39571 h 2601796"/>
              <a:gd name="connsiteX57" fmla="*/ 1705680 w 2643893"/>
              <a:gd name="connsiteY57" fmla="*/ 30046 h 2601796"/>
              <a:gd name="connsiteX58" fmla="*/ 1881893 w 2643893"/>
              <a:gd name="connsiteY58" fmla="*/ 20521 h 2601796"/>
              <a:gd name="connsiteX59" fmla="*/ 2329568 w 2643893"/>
              <a:gd name="connsiteY59" fmla="*/ 20521 h 2601796"/>
              <a:gd name="connsiteX60" fmla="*/ 2358143 w 2643893"/>
              <a:gd name="connsiteY60" fmla="*/ 30046 h 2601796"/>
              <a:gd name="connsiteX61" fmla="*/ 2386718 w 2643893"/>
              <a:gd name="connsiteY61" fmla="*/ 39571 h 2601796"/>
              <a:gd name="connsiteX62" fmla="*/ 2577218 w 2643893"/>
              <a:gd name="connsiteY62" fmla="*/ 44333 h 2601796"/>
              <a:gd name="connsiteX63" fmla="*/ 2615318 w 2643893"/>
              <a:gd name="connsiteY63" fmla="*/ 53858 h 2601796"/>
              <a:gd name="connsiteX64" fmla="*/ 2629605 w 2643893"/>
              <a:gd name="connsiteY64" fmla="*/ 63383 h 2601796"/>
              <a:gd name="connsiteX65" fmla="*/ 2643893 w 2643893"/>
              <a:gd name="connsiteY65" fmla="*/ 68146 h 2601796"/>
              <a:gd name="connsiteX66" fmla="*/ 2639130 w 2643893"/>
              <a:gd name="connsiteY66" fmla="*/ 2597033 h 2601796"/>
              <a:gd name="connsiteX67" fmla="*/ 705 w 2643893"/>
              <a:gd name="connsiteY67" fmla="*/ 2601796 h 2601796"/>
              <a:gd name="connsiteX68" fmla="*/ 705 w 2643893"/>
              <a:gd name="connsiteY68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224543 w 2643893"/>
              <a:gd name="connsiteY11" fmla="*/ 592021 h 2601796"/>
              <a:gd name="connsiteX12" fmla="*/ 234068 w 2643893"/>
              <a:gd name="connsiteY12" fmla="*/ 577733 h 2601796"/>
              <a:gd name="connsiteX13" fmla="*/ 362655 w 2643893"/>
              <a:gd name="connsiteY13" fmla="*/ 506296 h 2601796"/>
              <a:gd name="connsiteX14" fmla="*/ 391230 w 2643893"/>
              <a:gd name="connsiteY14" fmla="*/ 492008 h 2601796"/>
              <a:gd name="connsiteX15" fmla="*/ 410280 w 2643893"/>
              <a:gd name="connsiteY15" fmla="*/ 468196 h 2601796"/>
              <a:gd name="connsiteX16" fmla="*/ 434093 w 2643893"/>
              <a:gd name="connsiteY16" fmla="*/ 439621 h 2601796"/>
              <a:gd name="connsiteX17" fmla="*/ 462668 w 2643893"/>
              <a:gd name="connsiteY17" fmla="*/ 420571 h 2601796"/>
              <a:gd name="connsiteX18" fmla="*/ 472193 w 2643893"/>
              <a:gd name="connsiteY18" fmla="*/ 406283 h 2601796"/>
              <a:gd name="connsiteX19" fmla="*/ 505530 w 2643893"/>
              <a:gd name="connsiteY19" fmla="*/ 401521 h 2601796"/>
              <a:gd name="connsiteX20" fmla="*/ 534105 w 2643893"/>
              <a:gd name="connsiteY20" fmla="*/ 391996 h 2601796"/>
              <a:gd name="connsiteX21" fmla="*/ 562680 w 2643893"/>
              <a:gd name="connsiteY21" fmla="*/ 382471 h 2601796"/>
              <a:gd name="connsiteX22" fmla="*/ 576968 w 2643893"/>
              <a:gd name="connsiteY22" fmla="*/ 377708 h 2601796"/>
              <a:gd name="connsiteX23" fmla="*/ 586493 w 2643893"/>
              <a:gd name="connsiteY23" fmla="*/ 363421 h 2601796"/>
              <a:gd name="connsiteX24" fmla="*/ 600780 w 2643893"/>
              <a:gd name="connsiteY24" fmla="*/ 353896 h 2601796"/>
              <a:gd name="connsiteX25" fmla="*/ 653168 w 2643893"/>
              <a:gd name="connsiteY25" fmla="*/ 339608 h 2601796"/>
              <a:gd name="connsiteX26" fmla="*/ 667455 w 2643893"/>
              <a:gd name="connsiteY26" fmla="*/ 330083 h 2601796"/>
              <a:gd name="connsiteX27" fmla="*/ 696030 w 2643893"/>
              <a:gd name="connsiteY27" fmla="*/ 306271 h 2601796"/>
              <a:gd name="connsiteX28" fmla="*/ 724605 w 2643893"/>
              <a:gd name="connsiteY28" fmla="*/ 296746 h 2601796"/>
              <a:gd name="connsiteX29" fmla="*/ 753180 w 2643893"/>
              <a:gd name="connsiteY29" fmla="*/ 282458 h 2601796"/>
              <a:gd name="connsiteX30" fmla="*/ 781755 w 2643893"/>
              <a:gd name="connsiteY30" fmla="*/ 268171 h 2601796"/>
              <a:gd name="connsiteX31" fmla="*/ 796043 w 2643893"/>
              <a:gd name="connsiteY31" fmla="*/ 258646 h 2601796"/>
              <a:gd name="connsiteX32" fmla="*/ 810330 w 2643893"/>
              <a:gd name="connsiteY32" fmla="*/ 253883 h 2601796"/>
              <a:gd name="connsiteX33" fmla="*/ 819855 w 2643893"/>
              <a:gd name="connsiteY33" fmla="*/ 239596 h 2601796"/>
              <a:gd name="connsiteX34" fmla="*/ 838905 w 2643893"/>
              <a:gd name="connsiteY34" fmla="*/ 234833 h 2601796"/>
              <a:gd name="connsiteX35" fmla="*/ 867480 w 2643893"/>
              <a:gd name="connsiteY35" fmla="*/ 225308 h 2601796"/>
              <a:gd name="connsiteX36" fmla="*/ 896055 w 2643893"/>
              <a:gd name="connsiteY36" fmla="*/ 215783 h 2601796"/>
              <a:gd name="connsiteX37" fmla="*/ 910343 w 2643893"/>
              <a:gd name="connsiteY37" fmla="*/ 206258 h 2601796"/>
              <a:gd name="connsiteX38" fmla="*/ 924630 w 2643893"/>
              <a:gd name="connsiteY38" fmla="*/ 201496 h 2601796"/>
              <a:gd name="connsiteX39" fmla="*/ 938918 w 2643893"/>
              <a:gd name="connsiteY39" fmla="*/ 191971 h 2601796"/>
              <a:gd name="connsiteX40" fmla="*/ 977018 w 2643893"/>
              <a:gd name="connsiteY40" fmla="*/ 182446 h 2601796"/>
              <a:gd name="connsiteX41" fmla="*/ 1010355 w 2643893"/>
              <a:gd name="connsiteY41" fmla="*/ 172921 h 2601796"/>
              <a:gd name="connsiteX42" fmla="*/ 1053218 w 2643893"/>
              <a:gd name="connsiteY42" fmla="*/ 168158 h 2601796"/>
              <a:gd name="connsiteX43" fmla="*/ 1067505 w 2643893"/>
              <a:gd name="connsiteY43" fmla="*/ 158633 h 2601796"/>
              <a:gd name="connsiteX44" fmla="*/ 1105605 w 2643893"/>
              <a:gd name="connsiteY44" fmla="*/ 149108 h 2601796"/>
              <a:gd name="connsiteX45" fmla="*/ 1134180 w 2643893"/>
              <a:gd name="connsiteY45" fmla="*/ 134821 h 2601796"/>
              <a:gd name="connsiteX46" fmla="*/ 1148468 w 2643893"/>
              <a:gd name="connsiteY46" fmla="*/ 125296 h 2601796"/>
              <a:gd name="connsiteX47" fmla="*/ 1196093 w 2643893"/>
              <a:gd name="connsiteY47" fmla="*/ 111008 h 2601796"/>
              <a:gd name="connsiteX48" fmla="*/ 1224668 w 2643893"/>
              <a:gd name="connsiteY48" fmla="*/ 106246 h 2601796"/>
              <a:gd name="connsiteX49" fmla="*/ 1253243 w 2643893"/>
              <a:gd name="connsiteY49" fmla="*/ 96721 h 2601796"/>
              <a:gd name="connsiteX50" fmla="*/ 1329443 w 2643893"/>
              <a:gd name="connsiteY50" fmla="*/ 87196 h 2601796"/>
              <a:gd name="connsiteX51" fmla="*/ 1372305 w 2643893"/>
              <a:gd name="connsiteY51" fmla="*/ 77671 h 2601796"/>
              <a:gd name="connsiteX52" fmla="*/ 1415168 w 2643893"/>
              <a:gd name="connsiteY52" fmla="*/ 72908 h 2601796"/>
              <a:gd name="connsiteX53" fmla="*/ 1453268 w 2643893"/>
              <a:gd name="connsiteY53" fmla="*/ 63383 h 2601796"/>
              <a:gd name="connsiteX54" fmla="*/ 1524705 w 2643893"/>
              <a:gd name="connsiteY54" fmla="*/ 53858 h 2601796"/>
              <a:gd name="connsiteX55" fmla="*/ 1605668 w 2643893"/>
              <a:gd name="connsiteY55" fmla="*/ 39571 h 2601796"/>
              <a:gd name="connsiteX56" fmla="*/ 1705680 w 2643893"/>
              <a:gd name="connsiteY56" fmla="*/ 30046 h 2601796"/>
              <a:gd name="connsiteX57" fmla="*/ 1881893 w 2643893"/>
              <a:gd name="connsiteY57" fmla="*/ 20521 h 2601796"/>
              <a:gd name="connsiteX58" fmla="*/ 2329568 w 2643893"/>
              <a:gd name="connsiteY58" fmla="*/ 20521 h 2601796"/>
              <a:gd name="connsiteX59" fmla="*/ 2358143 w 2643893"/>
              <a:gd name="connsiteY59" fmla="*/ 30046 h 2601796"/>
              <a:gd name="connsiteX60" fmla="*/ 2386718 w 2643893"/>
              <a:gd name="connsiteY60" fmla="*/ 39571 h 2601796"/>
              <a:gd name="connsiteX61" fmla="*/ 2577218 w 2643893"/>
              <a:gd name="connsiteY61" fmla="*/ 44333 h 2601796"/>
              <a:gd name="connsiteX62" fmla="*/ 2615318 w 2643893"/>
              <a:gd name="connsiteY62" fmla="*/ 53858 h 2601796"/>
              <a:gd name="connsiteX63" fmla="*/ 2629605 w 2643893"/>
              <a:gd name="connsiteY63" fmla="*/ 63383 h 2601796"/>
              <a:gd name="connsiteX64" fmla="*/ 2643893 w 2643893"/>
              <a:gd name="connsiteY64" fmla="*/ 68146 h 2601796"/>
              <a:gd name="connsiteX65" fmla="*/ 2639130 w 2643893"/>
              <a:gd name="connsiteY65" fmla="*/ 2597033 h 2601796"/>
              <a:gd name="connsiteX66" fmla="*/ 705 w 2643893"/>
              <a:gd name="connsiteY66" fmla="*/ 2601796 h 2601796"/>
              <a:gd name="connsiteX67" fmla="*/ 705 w 2643893"/>
              <a:gd name="connsiteY67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224543 w 2643893"/>
              <a:gd name="connsiteY11" fmla="*/ 592021 h 2601796"/>
              <a:gd name="connsiteX12" fmla="*/ 362655 w 2643893"/>
              <a:gd name="connsiteY12" fmla="*/ 506296 h 2601796"/>
              <a:gd name="connsiteX13" fmla="*/ 391230 w 2643893"/>
              <a:gd name="connsiteY13" fmla="*/ 492008 h 2601796"/>
              <a:gd name="connsiteX14" fmla="*/ 410280 w 2643893"/>
              <a:gd name="connsiteY14" fmla="*/ 468196 h 2601796"/>
              <a:gd name="connsiteX15" fmla="*/ 434093 w 2643893"/>
              <a:gd name="connsiteY15" fmla="*/ 439621 h 2601796"/>
              <a:gd name="connsiteX16" fmla="*/ 462668 w 2643893"/>
              <a:gd name="connsiteY16" fmla="*/ 420571 h 2601796"/>
              <a:gd name="connsiteX17" fmla="*/ 472193 w 2643893"/>
              <a:gd name="connsiteY17" fmla="*/ 406283 h 2601796"/>
              <a:gd name="connsiteX18" fmla="*/ 505530 w 2643893"/>
              <a:gd name="connsiteY18" fmla="*/ 401521 h 2601796"/>
              <a:gd name="connsiteX19" fmla="*/ 534105 w 2643893"/>
              <a:gd name="connsiteY19" fmla="*/ 391996 h 2601796"/>
              <a:gd name="connsiteX20" fmla="*/ 562680 w 2643893"/>
              <a:gd name="connsiteY20" fmla="*/ 382471 h 2601796"/>
              <a:gd name="connsiteX21" fmla="*/ 576968 w 2643893"/>
              <a:gd name="connsiteY21" fmla="*/ 377708 h 2601796"/>
              <a:gd name="connsiteX22" fmla="*/ 586493 w 2643893"/>
              <a:gd name="connsiteY22" fmla="*/ 363421 h 2601796"/>
              <a:gd name="connsiteX23" fmla="*/ 600780 w 2643893"/>
              <a:gd name="connsiteY23" fmla="*/ 353896 h 2601796"/>
              <a:gd name="connsiteX24" fmla="*/ 653168 w 2643893"/>
              <a:gd name="connsiteY24" fmla="*/ 339608 h 2601796"/>
              <a:gd name="connsiteX25" fmla="*/ 667455 w 2643893"/>
              <a:gd name="connsiteY25" fmla="*/ 330083 h 2601796"/>
              <a:gd name="connsiteX26" fmla="*/ 696030 w 2643893"/>
              <a:gd name="connsiteY26" fmla="*/ 306271 h 2601796"/>
              <a:gd name="connsiteX27" fmla="*/ 724605 w 2643893"/>
              <a:gd name="connsiteY27" fmla="*/ 296746 h 2601796"/>
              <a:gd name="connsiteX28" fmla="*/ 753180 w 2643893"/>
              <a:gd name="connsiteY28" fmla="*/ 282458 h 2601796"/>
              <a:gd name="connsiteX29" fmla="*/ 781755 w 2643893"/>
              <a:gd name="connsiteY29" fmla="*/ 268171 h 2601796"/>
              <a:gd name="connsiteX30" fmla="*/ 796043 w 2643893"/>
              <a:gd name="connsiteY30" fmla="*/ 258646 h 2601796"/>
              <a:gd name="connsiteX31" fmla="*/ 810330 w 2643893"/>
              <a:gd name="connsiteY31" fmla="*/ 253883 h 2601796"/>
              <a:gd name="connsiteX32" fmla="*/ 819855 w 2643893"/>
              <a:gd name="connsiteY32" fmla="*/ 239596 h 2601796"/>
              <a:gd name="connsiteX33" fmla="*/ 838905 w 2643893"/>
              <a:gd name="connsiteY33" fmla="*/ 234833 h 2601796"/>
              <a:gd name="connsiteX34" fmla="*/ 867480 w 2643893"/>
              <a:gd name="connsiteY34" fmla="*/ 225308 h 2601796"/>
              <a:gd name="connsiteX35" fmla="*/ 896055 w 2643893"/>
              <a:gd name="connsiteY35" fmla="*/ 215783 h 2601796"/>
              <a:gd name="connsiteX36" fmla="*/ 910343 w 2643893"/>
              <a:gd name="connsiteY36" fmla="*/ 206258 h 2601796"/>
              <a:gd name="connsiteX37" fmla="*/ 924630 w 2643893"/>
              <a:gd name="connsiteY37" fmla="*/ 201496 h 2601796"/>
              <a:gd name="connsiteX38" fmla="*/ 938918 w 2643893"/>
              <a:gd name="connsiteY38" fmla="*/ 191971 h 2601796"/>
              <a:gd name="connsiteX39" fmla="*/ 977018 w 2643893"/>
              <a:gd name="connsiteY39" fmla="*/ 182446 h 2601796"/>
              <a:gd name="connsiteX40" fmla="*/ 1010355 w 2643893"/>
              <a:gd name="connsiteY40" fmla="*/ 172921 h 2601796"/>
              <a:gd name="connsiteX41" fmla="*/ 1053218 w 2643893"/>
              <a:gd name="connsiteY41" fmla="*/ 168158 h 2601796"/>
              <a:gd name="connsiteX42" fmla="*/ 1067505 w 2643893"/>
              <a:gd name="connsiteY42" fmla="*/ 158633 h 2601796"/>
              <a:gd name="connsiteX43" fmla="*/ 1105605 w 2643893"/>
              <a:gd name="connsiteY43" fmla="*/ 149108 h 2601796"/>
              <a:gd name="connsiteX44" fmla="*/ 1134180 w 2643893"/>
              <a:gd name="connsiteY44" fmla="*/ 134821 h 2601796"/>
              <a:gd name="connsiteX45" fmla="*/ 1148468 w 2643893"/>
              <a:gd name="connsiteY45" fmla="*/ 125296 h 2601796"/>
              <a:gd name="connsiteX46" fmla="*/ 1196093 w 2643893"/>
              <a:gd name="connsiteY46" fmla="*/ 111008 h 2601796"/>
              <a:gd name="connsiteX47" fmla="*/ 1224668 w 2643893"/>
              <a:gd name="connsiteY47" fmla="*/ 106246 h 2601796"/>
              <a:gd name="connsiteX48" fmla="*/ 1253243 w 2643893"/>
              <a:gd name="connsiteY48" fmla="*/ 96721 h 2601796"/>
              <a:gd name="connsiteX49" fmla="*/ 1329443 w 2643893"/>
              <a:gd name="connsiteY49" fmla="*/ 87196 h 2601796"/>
              <a:gd name="connsiteX50" fmla="*/ 1372305 w 2643893"/>
              <a:gd name="connsiteY50" fmla="*/ 77671 h 2601796"/>
              <a:gd name="connsiteX51" fmla="*/ 1415168 w 2643893"/>
              <a:gd name="connsiteY51" fmla="*/ 72908 h 2601796"/>
              <a:gd name="connsiteX52" fmla="*/ 1453268 w 2643893"/>
              <a:gd name="connsiteY52" fmla="*/ 63383 h 2601796"/>
              <a:gd name="connsiteX53" fmla="*/ 1524705 w 2643893"/>
              <a:gd name="connsiteY53" fmla="*/ 53858 h 2601796"/>
              <a:gd name="connsiteX54" fmla="*/ 1605668 w 2643893"/>
              <a:gd name="connsiteY54" fmla="*/ 39571 h 2601796"/>
              <a:gd name="connsiteX55" fmla="*/ 1705680 w 2643893"/>
              <a:gd name="connsiteY55" fmla="*/ 30046 h 2601796"/>
              <a:gd name="connsiteX56" fmla="*/ 1881893 w 2643893"/>
              <a:gd name="connsiteY56" fmla="*/ 20521 h 2601796"/>
              <a:gd name="connsiteX57" fmla="*/ 2329568 w 2643893"/>
              <a:gd name="connsiteY57" fmla="*/ 20521 h 2601796"/>
              <a:gd name="connsiteX58" fmla="*/ 2358143 w 2643893"/>
              <a:gd name="connsiteY58" fmla="*/ 30046 h 2601796"/>
              <a:gd name="connsiteX59" fmla="*/ 2386718 w 2643893"/>
              <a:gd name="connsiteY59" fmla="*/ 39571 h 2601796"/>
              <a:gd name="connsiteX60" fmla="*/ 2577218 w 2643893"/>
              <a:gd name="connsiteY60" fmla="*/ 44333 h 2601796"/>
              <a:gd name="connsiteX61" fmla="*/ 2615318 w 2643893"/>
              <a:gd name="connsiteY61" fmla="*/ 53858 h 2601796"/>
              <a:gd name="connsiteX62" fmla="*/ 2629605 w 2643893"/>
              <a:gd name="connsiteY62" fmla="*/ 63383 h 2601796"/>
              <a:gd name="connsiteX63" fmla="*/ 2643893 w 2643893"/>
              <a:gd name="connsiteY63" fmla="*/ 68146 h 2601796"/>
              <a:gd name="connsiteX64" fmla="*/ 2639130 w 2643893"/>
              <a:gd name="connsiteY64" fmla="*/ 2597033 h 2601796"/>
              <a:gd name="connsiteX65" fmla="*/ 705 w 2643893"/>
              <a:gd name="connsiteY65" fmla="*/ 2601796 h 2601796"/>
              <a:gd name="connsiteX66" fmla="*/ 705 w 2643893"/>
              <a:gd name="connsiteY66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181680 w 2643893"/>
              <a:gd name="connsiteY9" fmla="*/ 606308 h 2601796"/>
              <a:gd name="connsiteX10" fmla="*/ 210255 w 2643893"/>
              <a:gd name="connsiteY10" fmla="*/ 596783 h 2601796"/>
              <a:gd name="connsiteX11" fmla="*/ 362655 w 2643893"/>
              <a:gd name="connsiteY11" fmla="*/ 506296 h 2601796"/>
              <a:gd name="connsiteX12" fmla="*/ 391230 w 2643893"/>
              <a:gd name="connsiteY12" fmla="*/ 492008 h 2601796"/>
              <a:gd name="connsiteX13" fmla="*/ 410280 w 2643893"/>
              <a:gd name="connsiteY13" fmla="*/ 468196 h 2601796"/>
              <a:gd name="connsiteX14" fmla="*/ 434093 w 2643893"/>
              <a:gd name="connsiteY14" fmla="*/ 439621 h 2601796"/>
              <a:gd name="connsiteX15" fmla="*/ 462668 w 2643893"/>
              <a:gd name="connsiteY15" fmla="*/ 420571 h 2601796"/>
              <a:gd name="connsiteX16" fmla="*/ 472193 w 2643893"/>
              <a:gd name="connsiteY16" fmla="*/ 406283 h 2601796"/>
              <a:gd name="connsiteX17" fmla="*/ 505530 w 2643893"/>
              <a:gd name="connsiteY17" fmla="*/ 401521 h 2601796"/>
              <a:gd name="connsiteX18" fmla="*/ 534105 w 2643893"/>
              <a:gd name="connsiteY18" fmla="*/ 391996 h 2601796"/>
              <a:gd name="connsiteX19" fmla="*/ 562680 w 2643893"/>
              <a:gd name="connsiteY19" fmla="*/ 382471 h 2601796"/>
              <a:gd name="connsiteX20" fmla="*/ 576968 w 2643893"/>
              <a:gd name="connsiteY20" fmla="*/ 377708 h 2601796"/>
              <a:gd name="connsiteX21" fmla="*/ 586493 w 2643893"/>
              <a:gd name="connsiteY21" fmla="*/ 363421 h 2601796"/>
              <a:gd name="connsiteX22" fmla="*/ 600780 w 2643893"/>
              <a:gd name="connsiteY22" fmla="*/ 353896 h 2601796"/>
              <a:gd name="connsiteX23" fmla="*/ 653168 w 2643893"/>
              <a:gd name="connsiteY23" fmla="*/ 339608 h 2601796"/>
              <a:gd name="connsiteX24" fmla="*/ 667455 w 2643893"/>
              <a:gd name="connsiteY24" fmla="*/ 330083 h 2601796"/>
              <a:gd name="connsiteX25" fmla="*/ 696030 w 2643893"/>
              <a:gd name="connsiteY25" fmla="*/ 306271 h 2601796"/>
              <a:gd name="connsiteX26" fmla="*/ 724605 w 2643893"/>
              <a:gd name="connsiteY26" fmla="*/ 296746 h 2601796"/>
              <a:gd name="connsiteX27" fmla="*/ 753180 w 2643893"/>
              <a:gd name="connsiteY27" fmla="*/ 282458 h 2601796"/>
              <a:gd name="connsiteX28" fmla="*/ 781755 w 2643893"/>
              <a:gd name="connsiteY28" fmla="*/ 268171 h 2601796"/>
              <a:gd name="connsiteX29" fmla="*/ 796043 w 2643893"/>
              <a:gd name="connsiteY29" fmla="*/ 258646 h 2601796"/>
              <a:gd name="connsiteX30" fmla="*/ 810330 w 2643893"/>
              <a:gd name="connsiteY30" fmla="*/ 253883 h 2601796"/>
              <a:gd name="connsiteX31" fmla="*/ 819855 w 2643893"/>
              <a:gd name="connsiteY31" fmla="*/ 239596 h 2601796"/>
              <a:gd name="connsiteX32" fmla="*/ 838905 w 2643893"/>
              <a:gd name="connsiteY32" fmla="*/ 234833 h 2601796"/>
              <a:gd name="connsiteX33" fmla="*/ 867480 w 2643893"/>
              <a:gd name="connsiteY33" fmla="*/ 225308 h 2601796"/>
              <a:gd name="connsiteX34" fmla="*/ 896055 w 2643893"/>
              <a:gd name="connsiteY34" fmla="*/ 215783 h 2601796"/>
              <a:gd name="connsiteX35" fmla="*/ 910343 w 2643893"/>
              <a:gd name="connsiteY35" fmla="*/ 206258 h 2601796"/>
              <a:gd name="connsiteX36" fmla="*/ 924630 w 2643893"/>
              <a:gd name="connsiteY36" fmla="*/ 201496 h 2601796"/>
              <a:gd name="connsiteX37" fmla="*/ 938918 w 2643893"/>
              <a:gd name="connsiteY37" fmla="*/ 191971 h 2601796"/>
              <a:gd name="connsiteX38" fmla="*/ 977018 w 2643893"/>
              <a:gd name="connsiteY38" fmla="*/ 182446 h 2601796"/>
              <a:gd name="connsiteX39" fmla="*/ 1010355 w 2643893"/>
              <a:gd name="connsiteY39" fmla="*/ 172921 h 2601796"/>
              <a:gd name="connsiteX40" fmla="*/ 1053218 w 2643893"/>
              <a:gd name="connsiteY40" fmla="*/ 168158 h 2601796"/>
              <a:gd name="connsiteX41" fmla="*/ 1067505 w 2643893"/>
              <a:gd name="connsiteY41" fmla="*/ 158633 h 2601796"/>
              <a:gd name="connsiteX42" fmla="*/ 1105605 w 2643893"/>
              <a:gd name="connsiteY42" fmla="*/ 149108 h 2601796"/>
              <a:gd name="connsiteX43" fmla="*/ 1134180 w 2643893"/>
              <a:gd name="connsiteY43" fmla="*/ 134821 h 2601796"/>
              <a:gd name="connsiteX44" fmla="*/ 1148468 w 2643893"/>
              <a:gd name="connsiteY44" fmla="*/ 125296 h 2601796"/>
              <a:gd name="connsiteX45" fmla="*/ 1196093 w 2643893"/>
              <a:gd name="connsiteY45" fmla="*/ 111008 h 2601796"/>
              <a:gd name="connsiteX46" fmla="*/ 1224668 w 2643893"/>
              <a:gd name="connsiteY46" fmla="*/ 106246 h 2601796"/>
              <a:gd name="connsiteX47" fmla="*/ 1253243 w 2643893"/>
              <a:gd name="connsiteY47" fmla="*/ 96721 h 2601796"/>
              <a:gd name="connsiteX48" fmla="*/ 1329443 w 2643893"/>
              <a:gd name="connsiteY48" fmla="*/ 87196 h 2601796"/>
              <a:gd name="connsiteX49" fmla="*/ 1372305 w 2643893"/>
              <a:gd name="connsiteY49" fmla="*/ 77671 h 2601796"/>
              <a:gd name="connsiteX50" fmla="*/ 1415168 w 2643893"/>
              <a:gd name="connsiteY50" fmla="*/ 72908 h 2601796"/>
              <a:gd name="connsiteX51" fmla="*/ 1453268 w 2643893"/>
              <a:gd name="connsiteY51" fmla="*/ 63383 h 2601796"/>
              <a:gd name="connsiteX52" fmla="*/ 1524705 w 2643893"/>
              <a:gd name="connsiteY52" fmla="*/ 53858 h 2601796"/>
              <a:gd name="connsiteX53" fmla="*/ 1605668 w 2643893"/>
              <a:gd name="connsiteY53" fmla="*/ 39571 h 2601796"/>
              <a:gd name="connsiteX54" fmla="*/ 1705680 w 2643893"/>
              <a:gd name="connsiteY54" fmla="*/ 30046 h 2601796"/>
              <a:gd name="connsiteX55" fmla="*/ 1881893 w 2643893"/>
              <a:gd name="connsiteY55" fmla="*/ 20521 h 2601796"/>
              <a:gd name="connsiteX56" fmla="*/ 2329568 w 2643893"/>
              <a:gd name="connsiteY56" fmla="*/ 20521 h 2601796"/>
              <a:gd name="connsiteX57" fmla="*/ 2358143 w 2643893"/>
              <a:gd name="connsiteY57" fmla="*/ 30046 h 2601796"/>
              <a:gd name="connsiteX58" fmla="*/ 2386718 w 2643893"/>
              <a:gd name="connsiteY58" fmla="*/ 39571 h 2601796"/>
              <a:gd name="connsiteX59" fmla="*/ 2577218 w 2643893"/>
              <a:gd name="connsiteY59" fmla="*/ 44333 h 2601796"/>
              <a:gd name="connsiteX60" fmla="*/ 2615318 w 2643893"/>
              <a:gd name="connsiteY60" fmla="*/ 53858 h 2601796"/>
              <a:gd name="connsiteX61" fmla="*/ 2629605 w 2643893"/>
              <a:gd name="connsiteY61" fmla="*/ 63383 h 2601796"/>
              <a:gd name="connsiteX62" fmla="*/ 2643893 w 2643893"/>
              <a:gd name="connsiteY62" fmla="*/ 68146 h 2601796"/>
              <a:gd name="connsiteX63" fmla="*/ 2639130 w 2643893"/>
              <a:gd name="connsiteY63" fmla="*/ 2597033 h 2601796"/>
              <a:gd name="connsiteX64" fmla="*/ 705 w 2643893"/>
              <a:gd name="connsiteY64" fmla="*/ 2601796 h 2601796"/>
              <a:gd name="connsiteX65" fmla="*/ 705 w 2643893"/>
              <a:gd name="connsiteY65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119768 w 2643893"/>
              <a:gd name="connsiteY8" fmla="*/ 625358 h 2601796"/>
              <a:gd name="connsiteX9" fmla="*/ 210255 w 2643893"/>
              <a:gd name="connsiteY9" fmla="*/ 596783 h 2601796"/>
              <a:gd name="connsiteX10" fmla="*/ 362655 w 2643893"/>
              <a:gd name="connsiteY10" fmla="*/ 506296 h 2601796"/>
              <a:gd name="connsiteX11" fmla="*/ 391230 w 2643893"/>
              <a:gd name="connsiteY11" fmla="*/ 492008 h 2601796"/>
              <a:gd name="connsiteX12" fmla="*/ 410280 w 2643893"/>
              <a:gd name="connsiteY12" fmla="*/ 468196 h 2601796"/>
              <a:gd name="connsiteX13" fmla="*/ 434093 w 2643893"/>
              <a:gd name="connsiteY13" fmla="*/ 439621 h 2601796"/>
              <a:gd name="connsiteX14" fmla="*/ 462668 w 2643893"/>
              <a:gd name="connsiteY14" fmla="*/ 420571 h 2601796"/>
              <a:gd name="connsiteX15" fmla="*/ 472193 w 2643893"/>
              <a:gd name="connsiteY15" fmla="*/ 406283 h 2601796"/>
              <a:gd name="connsiteX16" fmla="*/ 505530 w 2643893"/>
              <a:gd name="connsiteY16" fmla="*/ 401521 h 2601796"/>
              <a:gd name="connsiteX17" fmla="*/ 534105 w 2643893"/>
              <a:gd name="connsiteY17" fmla="*/ 391996 h 2601796"/>
              <a:gd name="connsiteX18" fmla="*/ 562680 w 2643893"/>
              <a:gd name="connsiteY18" fmla="*/ 382471 h 2601796"/>
              <a:gd name="connsiteX19" fmla="*/ 576968 w 2643893"/>
              <a:gd name="connsiteY19" fmla="*/ 377708 h 2601796"/>
              <a:gd name="connsiteX20" fmla="*/ 586493 w 2643893"/>
              <a:gd name="connsiteY20" fmla="*/ 363421 h 2601796"/>
              <a:gd name="connsiteX21" fmla="*/ 600780 w 2643893"/>
              <a:gd name="connsiteY21" fmla="*/ 353896 h 2601796"/>
              <a:gd name="connsiteX22" fmla="*/ 653168 w 2643893"/>
              <a:gd name="connsiteY22" fmla="*/ 339608 h 2601796"/>
              <a:gd name="connsiteX23" fmla="*/ 667455 w 2643893"/>
              <a:gd name="connsiteY23" fmla="*/ 330083 h 2601796"/>
              <a:gd name="connsiteX24" fmla="*/ 696030 w 2643893"/>
              <a:gd name="connsiteY24" fmla="*/ 306271 h 2601796"/>
              <a:gd name="connsiteX25" fmla="*/ 724605 w 2643893"/>
              <a:gd name="connsiteY25" fmla="*/ 296746 h 2601796"/>
              <a:gd name="connsiteX26" fmla="*/ 753180 w 2643893"/>
              <a:gd name="connsiteY26" fmla="*/ 282458 h 2601796"/>
              <a:gd name="connsiteX27" fmla="*/ 781755 w 2643893"/>
              <a:gd name="connsiteY27" fmla="*/ 268171 h 2601796"/>
              <a:gd name="connsiteX28" fmla="*/ 796043 w 2643893"/>
              <a:gd name="connsiteY28" fmla="*/ 258646 h 2601796"/>
              <a:gd name="connsiteX29" fmla="*/ 810330 w 2643893"/>
              <a:gd name="connsiteY29" fmla="*/ 253883 h 2601796"/>
              <a:gd name="connsiteX30" fmla="*/ 819855 w 2643893"/>
              <a:gd name="connsiteY30" fmla="*/ 239596 h 2601796"/>
              <a:gd name="connsiteX31" fmla="*/ 838905 w 2643893"/>
              <a:gd name="connsiteY31" fmla="*/ 234833 h 2601796"/>
              <a:gd name="connsiteX32" fmla="*/ 867480 w 2643893"/>
              <a:gd name="connsiteY32" fmla="*/ 225308 h 2601796"/>
              <a:gd name="connsiteX33" fmla="*/ 896055 w 2643893"/>
              <a:gd name="connsiteY33" fmla="*/ 215783 h 2601796"/>
              <a:gd name="connsiteX34" fmla="*/ 910343 w 2643893"/>
              <a:gd name="connsiteY34" fmla="*/ 206258 h 2601796"/>
              <a:gd name="connsiteX35" fmla="*/ 924630 w 2643893"/>
              <a:gd name="connsiteY35" fmla="*/ 201496 h 2601796"/>
              <a:gd name="connsiteX36" fmla="*/ 938918 w 2643893"/>
              <a:gd name="connsiteY36" fmla="*/ 191971 h 2601796"/>
              <a:gd name="connsiteX37" fmla="*/ 977018 w 2643893"/>
              <a:gd name="connsiteY37" fmla="*/ 182446 h 2601796"/>
              <a:gd name="connsiteX38" fmla="*/ 1010355 w 2643893"/>
              <a:gd name="connsiteY38" fmla="*/ 172921 h 2601796"/>
              <a:gd name="connsiteX39" fmla="*/ 1053218 w 2643893"/>
              <a:gd name="connsiteY39" fmla="*/ 168158 h 2601796"/>
              <a:gd name="connsiteX40" fmla="*/ 1067505 w 2643893"/>
              <a:gd name="connsiteY40" fmla="*/ 158633 h 2601796"/>
              <a:gd name="connsiteX41" fmla="*/ 1105605 w 2643893"/>
              <a:gd name="connsiteY41" fmla="*/ 149108 h 2601796"/>
              <a:gd name="connsiteX42" fmla="*/ 1134180 w 2643893"/>
              <a:gd name="connsiteY42" fmla="*/ 134821 h 2601796"/>
              <a:gd name="connsiteX43" fmla="*/ 1148468 w 2643893"/>
              <a:gd name="connsiteY43" fmla="*/ 125296 h 2601796"/>
              <a:gd name="connsiteX44" fmla="*/ 1196093 w 2643893"/>
              <a:gd name="connsiteY44" fmla="*/ 111008 h 2601796"/>
              <a:gd name="connsiteX45" fmla="*/ 1224668 w 2643893"/>
              <a:gd name="connsiteY45" fmla="*/ 106246 h 2601796"/>
              <a:gd name="connsiteX46" fmla="*/ 1253243 w 2643893"/>
              <a:gd name="connsiteY46" fmla="*/ 96721 h 2601796"/>
              <a:gd name="connsiteX47" fmla="*/ 1329443 w 2643893"/>
              <a:gd name="connsiteY47" fmla="*/ 87196 h 2601796"/>
              <a:gd name="connsiteX48" fmla="*/ 1372305 w 2643893"/>
              <a:gd name="connsiteY48" fmla="*/ 77671 h 2601796"/>
              <a:gd name="connsiteX49" fmla="*/ 1415168 w 2643893"/>
              <a:gd name="connsiteY49" fmla="*/ 72908 h 2601796"/>
              <a:gd name="connsiteX50" fmla="*/ 1453268 w 2643893"/>
              <a:gd name="connsiteY50" fmla="*/ 63383 h 2601796"/>
              <a:gd name="connsiteX51" fmla="*/ 1524705 w 2643893"/>
              <a:gd name="connsiteY51" fmla="*/ 53858 h 2601796"/>
              <a:gd name="connsiteX52" fmla="*/ 1605668 w 2643893"/>
              <a:gd name="connsiteY52" fmla="*/ 39571 h 2601796"/>
              <a:gd name="connsiteX53" fmla="*/ 1705680 w 2643893"/>
              <a:gd name="connsiteY53" fmla="*/ 30046 h 2601796"/>
              <a:gd name="connsiteX54" fmla="*/ 1881893 w 2643893"/>
              <a:gd name="connsiteY54" fmla="*/ 20521 h 2601796"/>
              <a:gd name="connsiteX55" fmla="*/ 2329568 w 2643893"/>
              <a:gd name="connsiteY55" fmla="*/ 20521 h 2601796"/>
              <a:gd name="connsiteX56" fmla="*/ 2358143 w 2643893"/>
              <a:gd name="connsiteY56" fmla="*/ 30046 h 2601796"/>
              <a:gd name="connsiteX57" fmla="*/ 2386718 w 2643893"/>
              <a:gd name="connsiteY57" fmla="*/ 39571 h 2601796"/>
              <a:gd name="connsiteX58" fmla="*/ 2577218 w 2643893"/>
              <a:gd name="connsiteY58" fmla="*/ 44333 h 2601796"/>
              <a:gd name="connsiteX59" fmla="*/ 2615318 w 2643893"/>
              <a:gd name="connsiteY59" fmla="*/ 53858 h 2601796"/>
              <a:gd name="connsiteX60" fmla="*/ 2629605 w 2643893"/>
              <a:gd name="connsiteY60" fmla="*/ 63383 h 2601796"/>
              <a:gd name="connsiteX61" fmla="*/ 2643893 w 2643893"/>
              <a:gd name="connsiteY61" fmla="*/ 68146 h 2601796"/>
              <a:gd name="connsiteX62" fmla="*/ 2639130 w 2643893"/>
              <a:gd name="connsiteY62" fmla="*/ 2597033 h 2601796"/>
              <a:gd name="connsiteX63" fmla="*/ 705 w 2643893"/>
              <a:gd name="connsiteY63" fmla="*/ 2601796 h 2601796"/>
              <a:gd name="connsiteX64" fmla="*/ 705 w 2643893"/>
              <a:gd name="connsiteY64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110243 w 2643893"/>
              <a:gd name="connsiteY7" fmla="*/ 639646 h 2601796"/>
              <a:gd name="connsiteX8" fmla="*/ 210255 w 2643893"/>
              <a:gd name="connsiteY8" fmla="*/ 596783 h 2601796"/>
              <a:gd name="connsiteX9" fmla="*/ 362655 w 2643893"/>
              <a:gd name="connsiteY9" fmla="*/ 506296 h 2601796"/>
              <a:gd name="connsiteX10" fmla="*/ 391230 w 2643893"/>
              <a:gd name="connsiteY10" fmla="*/ 492008 h 2601796"/>
              <a:gd name="connsiteX11" fmla="*/ 410280 w 2643893"/>
              <a:gd name="connsiteY11" fmla="*/ 468196 h 2601796"/>
              <a:gd name="connsiteX12" fmla="*/ 434093 w 2643893"/>
              <a:gd name="connsiteY12" fmla="*/ 439621 h 2601796"/>
              <a:gd name="connsiteX13" fmla="*/ 462668 w 2643893"/>
              <a:gd name="connsiteY13" fmla="*/ 420571 h 2601796"/>
              <a:gd name="connsiteX14" fmla="*/ 472193 w 2643893"/>
              <a:gd name="connsiteY14" fmla="*/ 406283 h 2601796"/>
              <a:gd name="connsiteX15" fmla="*/ 505530 w 2643893"/>
              <a:gd name="connsiteY15" fmla="*/ 401521 h 2601796"/>
              <a:gd name="connsiteX16" fmla="*/ 534105 w 2643893"/>
              <a:gd name="connsiteY16" fmla="*/ 391996 h 2601796"/>
              <a:gd name="connsiteX17" fmla="*/ 562680 w 2643893"/>
              <a:gd name="connsiteY17" fmla="*/ 382471 h 2601796"/>
              <a:gd name="connsiteX18" fmla="*/ 576968 w 2643893"/>
              <a:gd name="connsiteY18" fmla="*/ 377708 h 2601796"/>
              <a:gd name="connsiteX19" fmla="*/ 586493 w 2643893"/>
              <a:gd name="connsiteY19" fmla="*/ 363421 h 2601796"/>
              <a:gd name="connsiteX20" fmla="*/ 600780 w 2643893"/>
              <a:gd name="connsiteY20" fmla="*/ 353896 h 2601796"/>
              <a:gd name="connsiteX21" fmla="*/ 653168 w 2643893"/>
              <a:gd name="connsiteY21" fmla="*/ 339608 h 2601796"/>
              <a:gd name="connsiteX22" fmla="*/ 667455 w 2643893"/>
              <a:gd name="connsiteY22" fmla="*/ 330083 h 2601796"/>
              <a:gd name="connsiteX23" fmla="*/ 696030 w 2643893"/>
              <a:gd name="connsiteY23" fmla="*/ 306271 h 2601796"/>
              <a:gd name="connsiteX24" fmla="*/ 724605 w 2643893"/>
              <a:gd name="connsiteY24" fmla="*/ 296746 h 2601796"/>
              <a:gd name="connsiteX25" fmla="*/ 753180 w 2643893"/>
              <a:gd name="connsiteY25" fmla="*/ 282458 h 2601796"/>
              <a:gd name="connsiteX26" fmla="*/ 781755 w 2643893"/>
              <a:gd name="connsiteY26" fmla="*/ 268171 h 2601796"/>
              <a:gd name="connsiteX27" fmla="*/ 796043 w 2643893"/>
              <a:gd name="connsiteY27" fmla="*/ 258646 h 2601796"/>
              <a:gd name="connsiteX28" fmla="*/ 810330 w 2643893"/>
              <a:gd name="connsiteY28" fmla="*/ 253883 h 2601796"/>
              <a:gd name="connsiteX29" fmla="*/ 819855 w 2643893"/>
              <a:gd name="connsiteY29" fmla="*/ 239596 h 2601796"/>
              <a:gd name="connsiteX30" fmla="*/ 838905 w 2643893"/>
              <a:gd name="connsiteY30" fmla="*/ 234833 h 2601796"/>
              <a:gd name="connsiteX31" fmla="*/ 867480 w 2643893"/>
              <a:gd name="connsiteY31" fmla="*/ 225308 h 2601796"/>
              <a:gd name="connsiteX32" fmla="*/ 896055 w 2643893"/>
              <a:gd name="connsiteY32" fmla="*/ 215783 h 2601796"/>
              <a:gd name="connsiteX33" fmla="*/ 910343 w 2643893"/>
              <a:gd name="connsiteY33" fmla="*/ 206258 h 2601796"/>
              <a:gd name="connsiteX34" fmla="*/ 924630 w 2643893"/>
              <a:gd name="connsiteY34" fmla="*/ 201496 h 2601796"/>
              <a:gd name="connsiteX35" fmla="*/ 938918 w 2643893"/>
              <a:gd name="connsiteY35" fmla="*/ 191971 h 2601796"/>
              <a:gd name="connsiteX36" fmla="*/ 977018 w 2643893"/>
              <a:gd name="connsiteY36" fmla="*/ 182446 h 2601796"/>
              <a:gd name="connsiteX37" fmla="*/ 1010355 w 2643893"/>
              <a:gd name="connsiteY37" fmla="*/ 172921 h 2601796"/>
              <a:gd name="connsiteX38" fmla="*/ 1053218 w 2643893"/>
              <a:gd name="connsiteY38" fmla="*/ 168158 h 2601796"/>
              <a:gd name="connsiteX39" fmla="*/ 1067505 w 2643893"/>
              <a:gd name="connsiteY39" fmla="*/ 158633 h 2601796"/>
              <a:gd name="connsiteX40" fmla="*/ 1105605 w 2643893"/>
              <a:gd name="connsiteY40" fmla="*/ 149108 h 2601796"/>
              <a:gd name="connsiteX41" fmla="*/ 1134180 w 2643893"/>
              <a:gd name="connsiteY41" fmla="*/ 134821 h 2601796"/>
              <a:gd name="connsiteX42" fmla="*/ 1148468 w 2643893"/>
              <a:gd name="connsiteY42" fmla="*/ 125296 h 2601796"/>
              <a:gd name="connsiteX43" fmla="*/ 1196093 w 2643893"/>
              <a:gd name="connsiteY43" fmla="*/ 111008 h 2601796"/>
              <a:gd name="connsiteX44" fmla="*/ 1224668 w 2643893"/>
              <a:gd name="connsiteY44" fmla="*/ 106246 h 2601796"/>
              <a:gd name="connsiteX45" fmla="*/ 1253243 w 2643893"/>
              <a:gd name="connsiteY45" fmla="*/ 96721 h 2601796"/>
              <a:gd name="connsiteX46" fmla="*/ 1329443 w 2643893"/>
              <a:gd name="connsiteY46" fmla="*/ 87196 h 2601796"/>
              <a:gd name="connsiteX47" fmla="*/ 1372305 w 2643893"/>
              <a:gd name="connsiteY47" fmla="*/ 77671 h 2601796"/>
              <a:gd name="connsiteX48" fmla="*/ 1415168 w 2643893"/>
              <a:gd name="connsiteY48" fmla="*/ 72908 h 2601796"/>
              <a:gd name="connsiteX49" fmla="*/ 1453268 w 2643893"/>
              <a:gd name="connsiteY49" fmla="*/ 63383 h 2601796"/>
              <a:gd name="connsiteX50" fmla="*/ 1524705 w 2643893"/>
              <a:gd name="connsiteY50" fmla="*/ 53858 h 2601796"/>
              <a:gd name="connsiteX51" fmla="*/ 1605668 w 2643893"/>
              <a:gd name="connsiteY51" fmla="*/ 39571 h 2601796"/>
              <a:gd name="connsiteX52" fmla="*/ 1705680 w 2643893"/>
              <a:gd name="connsiteY52" fmla="*/ 30046 h 2601796"/>
              <a:gd name="connsiteX53" fmla="*/ 1881893 w 2643893"/>
              <a:gd name="connsiteY53" fmla="*/ 20521 h 2601796"/>
              <a:gd name="connsiteX54" fmla="*/ 2329568 w 2643893"/>
              <a:gd name="connsiteY54" fmla="*/ 20521 h 2601796"/>
              <a:gd name="connsiteX55" fmla="*/ 2358143 w 2643893"/>
              <a:gd name="connsiteY55" fmla="*/ 30046 h 2601796"/>
              <a:gd name="connsiteX56" fmla="*/ 2386718 w 2643893"/>
              <a:gd name="connsiteY56" fmla="*/ 39571 h 2601796"/>
              <a:gd name="connsiteX57" fmla="*/ 2577218 w 2643893"/>
              <a:gd name="connsiteY57" fmla="*/ 44333 h 2601796"/>
              <a:gd name="connsiteX58" fmla="*/ 2615318 w 2643893"/>
              <a:gd name="connsiteY58" fmla="*/ 53858 h 2601796"/>
              <a:gd name="connsiteX59" fmla="*/ 2629605 w 2643893"/>
              <a:gd name="connsiteY59" fmla="*/ 63383 h 2601796"/>
              <a:gd name="connsiteX60" fmla="*/ 2643893 w 2643893"/>
              <a:gd name="connsiteY60" fmla="*/ 68146 h 2601796"/>
              <a:gd name="connsiteX61" fmla="*/ 2639130 w 2643893"/>
              <a:gd name="connsiteY61" fmla="*/ 2597033 h 2601796"/>
              <a:gd name="connsiteX62" fmla="*/ 705 w 2643893"/>
              <a:gd name="connsiteY62" fmla="*/ 2601796 h 2601796"/>
              <a:gd name="connsiteX63" fmla="*/ 705 w 2643893"/>
              <a:gd name="connsiteY63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210255 w 2643893"/>
              <a:gd name="connsiteY7" fmla="*/ 596783 h 2601796"/>
              <a:gd name="connsiteX8" fmla="*/ 362655 w 2643893"/>
              <a:gd name="connsiteY8" fmla="*/ 506296 h 2601796"/>
              <a:gd name="connsiteX9" fmla="*/ 391230 w 2643893"/>
              <a:gd name="connsiteY9" fmla="*/ 492008 h 2601796"/>
              <a:gd name="connsiteX10" fmla="*/ 410280 w 2643893"/>
              <a:gd name="connsiteY10" fmla="*/ 468196 h 2601796"/>
              <a:gd name="connsiteX11" fmla="*/ 434093 w 2643893"/>
              <a:gd name="connsiteY11" fmla="*/ 439621 h 2601796"/>
              <a:gd name="connsiteX12" fmla="*/ 462668 w 2643893"/>
              <a:gd name="connsiteY12" fmla="*/ 420571 h 2601796"/>
              <a:gd name="connsiteX13" fmla="*/ 472193 w 2643893"/>
              <a:gd name="connsiteY13" fmla="*/ 406283 h 2601796"/>
              <a:gd name="connsiteX14" fmla="*/ 505530 w 2643893"/>
              <a:gd name="connsiteY14" fmla="*/ 401521 h 2601796"/>
              <a:gd name="connsiteX15" fmla="*/ 534105 w 2643893"/>
              <a:gd name="connsiteY15" fmla="*/ 391996 h 2601796"/>
              <a:gd name="connsiteX16" fmla="*/ 562680 w 2643893"/>
              <a:gd name="connsiteY16" fmla="*/ 382471 h 2601796"/>
              <a:gd name="connsiteX17" fmla="*/ 576968 w 2643893"/>
              <a:gd name="connsiteY17" fmla="*/ 377708 h 2601796"/>
              <a:gd name="connsiteX18" fmla="*/ 586493 w 2643893"/>
              <a:gd name="connsiteY18" fmla="*/ 363421 h 2601796"/>
              <a:gd name="connsiteX19" fmla="*/ 600780 w 2643893"/>
              <a:gd name="connsiteY19" fmla="*/ 353896 h 2601796"/>
              <a:gd name="connsiteX20" fmla="*/ 653168 w 2643893"/>
              <a:gd name="connsiteY20" fmla="*/ 339608 h 2601796"/>
              <a:gd name="connsiteX21" fmla="*/ 667455 w 2643893"/>
              <a:gd name="connsiteY21" fmla="*/ 330083 h 2601796"/>
              <a:gd name="connsiteX22" fmla="*/ 696030 w 2643893"/>
              <a:gd name="connsiteY22" fmla="*/ 306271 h 2601796"/>
              <a:gd name="connsiteX23" fmla="*/ 724605 w 2643893"/>
              <a:gd name="connsiteY23" fmla="*/ 296746 h 2601796"/>
              <a:gd name="connsiteX24" fmla="*/ 753180 w 2643893"/>
              <a:gd name="connsiteY24" fmla="*/ 282458 h 2601796"/>
              <a:gd name="connsiteX25" fmla="*/ 781755 w 2643893"/>
              <a:gd name="connsiteY25" fmla="*/ 268171 h 2601796"/>
              <a:gd name="connsiteX26" fmla="*/ 796043 w 2643893"/>
              <a:gd name="connsiteY26" fmla="*/ 258646 h 2601796"/>
              <a:gd name="connsiteX27" fmla="*/ 810330 w 2643893"/>
              <a:gd name="connsiteY27" fmla="*/ 253883 h 2601796"/>
              <a:gd name="connsiteX28" fmla="*/ 819855 w 2643893"/>
              <a:gd name="connsiteY28" fmla="*/ 239596 h 2601796"/>
              <a:gd name="connsiteX29" fmla="*/ 838905 w 2643893"/>
              <a:gd name="connsiteY29" fmla="*/ 234833 h 2601796"/>
              <a:gd name="connsiteX30" fmla="*/ 867480 w 2643893"/>
              <a:gd name="connsiteY30" fmla="*/ 225308 h 2601796"/>
              <a:gd name="connsiteX31" fmla="*/ 896055 w 2643893"/>
              <a:gd name="connsiteY31" fmla="*/ 215783 h 2601796"/>
              <a:gd name="connsiteX32" fmla="*/ 910343 w 2643893"/>
              <a:gd name="connsiteY32" fmla="*/ 206258 h 2601796"/>
              <a:gd name="connsiteX33" fmla="*/ 924630 w 2643893"/>
              <a:gd name="connsiteY33" fmla="*/ 201496 h 2601796"/>
              <a:gd name="connsiteX34" fmla="*/ 938918 w 2643893"/>
              <a:gd name="connsiteY34" fmla="*/ 191971 h 2601796"/>
              <a:gd name="connsiteX35" fmla="*/ 977018 w 2643893"/>
              <a:gd name="connsiteY35" fmla="*/ 182446 h 2601796"/>
              <a:gd name="connsiteX36" fmla="*/ 1010355 w 2643893"/>
              <a:gd name="connsiteY36" fmla="*/ 172921 h 2601796"/>
              <a:gd name="connsiteX37" fmla="*/ 1053218 w 2643893"/>
              <a:gd name="connsiteY37" fmla="*/ 168158 h 2601796"/>
              <a:gd name="connsiteX38" fmla="*/ 1067505 w 2643893"/>
              <a:gd name="connsiteY38" fmla="*/ 158633 h 2601796"/>
              <a:gd name="connsiteX39" fmla="*/ 1105605 w 2643893"/>
              <a:gd name="connsiteY39" fmla="*/ 149108 h 2601796"/>
              <a:gd name="connsiteX40" fmla="*/ 1134180 w 2643893"/>
              <a:gd name="connsiteY40" fmla="*/ 134821 h 2601796"/>
              <a:gd name="connsiteX41" fmla="*/ 1148468 w 2643893"/>
              <a:gd name="connsiteY41" fmla="*/ 125296 h 2601796"/>
              <a:gd name="connsiteX42" fmla="*/ 1196093 w 2643893"/>
              <a:gd name="connsiteY42" fmla="*/ 111008 h 2601796"/>
              <a:gd name="connsiteX43" fmla="*/ 1224668 w 2643893"/>
              <a:gd name="connsiteY43" fmla="*/ 106246 h 2601796"/>
              <a:gd name="connsiteX44" fmla="*/ 1253243 w 2643893"/>
              <a:gd name="connsiteY44" fmla="*/ 96721 h 2601796"/>
              <a:gd name="connsiteX45" fmla="*/ 1329443 w 2643893"/>
              <a:gd name="connsiteY45" fmla="*/ 87196 h 2601796"/>
              <a:gd name="connsiteX46" fmla="*/ 1372305 w 2643893"/>
              <a:gd name="connsiteY46" fmla="*/ 77671 h 2601796"/>
              <a:gd name="connsiteX47" fmla="*/ 1415168 w 2643893"/>
              <a:gd name="connsiteY47" fmla="*/ 72908 h 2601796"/>
              <a:gd name="connsiteX48" fmla="*/ 1453268 w 2643893"/>
              <a:gd name="connsiteY48" fmla="*/ 63383 h 2601796"/>
              <a:gd name="connsiteX49" fmla="*/ 1524705 w 2643893"/>
              <a:gd name="connsiteY49" fmla="*/ 53858 h 2601796"/>
              <a:gd name="connsiteX50" fmla="*/ 1605668 w 2643893"/>
              <a:gd name="connsiteY50" fmla="*/ 39571 h 2601796"/>
              <a:gd name="connsiteX51" fmla="*/ 1705680 w 2643893"/>
              <a:gd name="connsiteY51" fmla="*/ 30046 h 2601796"/>
              <a:gd name="connsiteX52" fmla="*/ 1881893 w 2643893"/>
              <a:gd name="connsiteY52" fmla="*/ 20521 h 2601796"/>
              <a:gd name="connsiteX53" fmla="*/ 2329568 w 2643893"/>
              <a:gd name="connsiteY53" fmla="*/ 20521 h 2601796"/>
              <a:gd name="connsiteX54" fmla="*/ 2358143 w 2643893"/>
              <a:gd name="connsiteY54" fmla="*/ 30046 h 2601796"/>
              <a:gd name="connsiteX55" fmla="*/ 2386718 w 2643893"/>
              <a:gd name="connsiteY55" fmla="*/ 39571 h 2601796"/>
              <a:gd name="connsiteX56" fmla="*/ 2577218 w 2643893"/>
              <a:gd name="connsiteY56" fmla="*/ 44333 h 2601796"/>
              <a:gd name="connsiteX57" fmla="*/ 2615318 w 2643893"/>
              <a:gd name="connsiteY57" fmla="*/ 53858 h 2601796"/>
              <a:gd name="connsiteX58" fmla="*/ 2629605 w 2643893"/>
              <a:gd name="connsiteY58" fmla="*/ 63383 h 2601796"/>
              <a:gd name="connsiteX59" fmla="*/ 2643893 w 2643893"/>
              <a:gd name="connsiteY59" fmla="*/ 68146 h 2601796"/>
              <a:gd name="connsiteX60" fmla="*/ 2639130 w 2643893"/>
              <a:gd name="connsiteY60" fmla="*/ 2597033 h 2601796"/>
              <a:gd name="connsiteX61" fmla="*/ 705 w 2643893"/>
              <a:gd name="connsiteY61" fmla="*/ 2601796 h 2601796"/>
              <a:gd name="connsiteX62" fmla="*/ 705 w 2643893"/>
              <a:gd name="connsiteY62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210255 w 2643893"/>
              <a:gd name="connsiteY7" fmla="*/ 596783 h 2601796"/>
              <a:gd name="connsiteX8" fmla="*/ 362655 w 2643893"/>
              <a:gd name="connsiteY8" fmla="*/ 506296 h 2601796"/>
              <a:gd name="connsiteX9" fmla="*/ 391230 w 2643893"/>
              <a:gd name="connsiteY9" fmla="*/ 492008 h 2601796"/>
              <a:gd name="connsiteX10" fmla="*/ 434093 w 2643893"/>
              <a:gd name="connsiteY10" fmla="*/ 439621 h 2601796"/>
              <a:gd name="connsiteX11" fmla="*/ 462668 w 2643893"/>
              <a:gd name="connsiteY11" fmla="*/ 420571 h 2601796"/>
              <a:gd name="connsiteX12" fmla="*/ 472193 w 2643893"/>
              <a:gd name="connsiteY12" fmla="*/ 406283 h 2601796"/>
              <a:gd name="connsiteX13" fmla="*/ 505530 w 2643893"/>
              <a:gd name="connsiteY13" fmla="*/ 401521 h 2601796"/>
              <a:gd name="connsiteX14" fmla="*/ 534105 w 2643893"/>
              <a:gd name="connsiteY14" fmla="*/ 391996 h 2601796"/>
              <a:gd name="connsiteX15" fmla="*/ 562680 w 2643893"/>
              <a:gd name="connsiteY15" fmla="*/ 382471 h 2601796"/>
              <a:gd name="connsiteX16" fmla="*/ 576968 w 2643893"/>
              <a:gd name="connsiteY16" fmla="*/ 377708 h 2601796"/>
              <a:gd name="connsiteX17" fmla="*/ 586493 w 2643893"/>
              <a:gd name="connsiteY17" fmla="*/ 363421 h 2601796"/>
              <a:gd name="connsiteX18" fmla="*/ 600780 w 2643893"/>
              <a:gd name="connsiteY18" fmla="*/ 353896 h 2601796"/>
              <a:gd name="connsiteX19" fmla="*/ 653168 w 2643893"/>
              <a:gd name="connsiteY19" fmla="*/ 339608 h 2601796"/>
              <a:gd name="connsiteX20" fmla="*/ 667455 w 2643893"/>
              <a:gd name="connsiteY20" fmla="*/ 330083 h 2601796"/>
              <a:gd name="connsiteX21" fmla="*/ 696030 w 2643893"/>
              <a:gd name="connsiteY21" fmla="*/ 306271 h 2601796"/>
              <a:gd name="connsiteX22" fmla="*/ 724605 w 2643893"/>
              <a:gd name="connsiteY22" fmla="*/ 296746 h 2601796"/>
              <a:gd name="connsiteX23" fmla="*/ 753180 w 2643893"/>
              <a:gd name="connsiteY23" fmla="*/ 282458 h 2601796"/>
              <a:gd name="connsiteX24" fmla="*/ 781755 w 2643893"/>
              <a:gd name="connsiteY24" fmla="*/ 268171 h 2601796"/>
              <a:gd name="connsiteX25" fmla="*/ 796043 w 2643893"/>
              <a:gd name="connsiteY25" fmla="*/ 258646 h 2601796"/>
              <a:gd name="connsiteX26" fmla="*/ 810330 w 2643893"/>
              <a:gd name="connsiteY26" fmla="*/ 253883 h 2601796"/>
              <a:gd name="connsiteX27" fmla="*/ 819855 w 2643893"/>
              <a:gd name="connsiteY27" fmla="*/ 239596 h 2601796"/>
              <a:gd name="connsiteX28" fmla="*/ 838905 w 2643893"/>
              <a:gd name="connsiteY28" fmla="*/ 234833 h 2601796"/>
              <a:gd name="connsiteX29" fmla="*/ 867480 w 2643893"/>
              <a:gd name="connsiteY29" fmla="*/ 225308 h 2601796"/>
              <a:gd name="connsiteX30" fmla="*/ 896055 w 2643893"/>
              <a:gd name="connsiteY30" fmla="*/ 215783 h 2601796"/>
              <a:gd name="connsiteX31" fmla="*/ 910343 w 2643893"/>
              <a:gd name="connsiteY31" fmla="*/ 206258 h 2601796"/>
              <a:gd name="connsiteX32" fmla="*/ 924630 w 2643893"/>
              <a:gd name="connsiteY32" fmla="*/ 201496 h 2601796"/>
              <a:gd name="connsiteX33" fmla="*/ 938918 w 2643893"/>
              <a:gd name="connsiteY33" fmla="*/ 191971 h 2601796"/>
              <a:gd name="connsiteX34" fmla="*/ 977018 w 2643893"/>
              <a:gd name="connsiteY34" fmla="*/ 182446 h 2601796"/>
              <a:gd name="connsiteX35" fmla="*/ 1010355 w 2643893"/>
              <a:gd name="connsiteY35" fmla="*/ 172921 h 2601796"/>
              <a:gd name="connsiteX36" fmla="*/ 1053218 w 2643893"/>
              <a:gd name="connsiteY36" fmla="*/ 168158 h 2601796"/>
              <a:gd name="connsiteX37" fmla="*/ 1067505 w 2643893"/>
              <a:gd name="connsiteY37" fmla="*/ 158633 h 2601796"/>
              <a:gd name="connsiteX38" fmla="*/ 1105605 w 2643893"/>
              <a:gd name="connsiteY38" fmla="*/ 149108 h 2601796"/>
              <a:gd name="connsiteX39" fmla="*/ 1134180 w 2643893"/>
              <a:gd name="connsiteY39" fmla="*/ 134821 h 2601796"/>
              <a:gd name="connsiteX40" fmla="*/ 1148468 w 2643893"/>
              <a:gd name="connsiteY40" fmla="*/ 125296 h 2601796"/>
              <a:gd name="connsiteX41" fmla="*/ 1196093 w 2643893"/>
              <a:gd name="connsiteY41" fmla="*/ 111008 h 2601796"/>
              <a:gd name="connsiteX42" fmla="*/ 1224668 w 2643893"/>
              <a:gd name="connsiteY42" fmla="*/ 106246 h 2601796"/>
              <a:gd name="connsiteX43" fmla="*/ 1253243 w 2643893"/>
              <a:gd name="connsiteY43" fmla="*/ 96721 h 2601796"/>
              <a:gd name="connsiteX44" fmla="*/ 1329443 w 2643893"/>
              <a:gd name="connsiteY44" fmla="*/ 87196 h 2601796"/>
              <a:gd name="connsiteX45" fmla="*/ 1372305 w 2643893"/>
              <a:gd name="connsiteY45" fmla="*/ 77671 h 2601796"/>
              <a:gd name="connsiteX46" fmla="*/ 1415168 w 2643893"/>
              <a:gd name="connsiteY46" fmla="*/ 72908 h 2601796"/>
              <a:gd name="connsiteX47" fmla="*/ 1453268 w 2643893"/>
              <a:gd name="connsiteY47" fmla="*/ 63383 h 2601796"/>
              <a:gd name="connsiteX48" fmla="*/ 1524705 w 2643893"/>
              <a:gd name="connsiteY48" fmla="*/ 53858 h 2601796"/>
              <a:gd name="connsiteX49" fmla="*/ 1605668 w 2643893"/>
              <a:gd name="connsiteY49" fmla="*/ 39571 h 2601796"/>
              <a:gd name="connsiteX50" fmla="*/ 1705680 w 2643893"/>
              <a:gd name="connsiteY50" fmla="*/ 30046 h 2601796"/>
              <a:gd name="connsiteX51" fmla="*/ 1881893 w 2643893"/>
              <a:gd name="connsiteY51" fmla="*/ 20521 h 2601796"/>
              <a:gd name="connsiteX52" fmla="*/ 2329568 w 2643893"/>
              <a:gd name="connsiteY52" fmla="*/ 20521 h 2601796"/>
              <a:gd name="connsiteX53" fmla="*/ 2358143 w 2643893"/>
              <a:gd name="connsiteY53" fmla="*/ 30046 h 2601796"/>
              <a:gd name="connsiteX54" fmla="*/ 2386718 w 2643893"/>
              <a:gd name="connsiteY54" fmla="*/ 39571 h 2601796"/>
              <a:gd name="connsiteX55" fmla="*/ 2577218 w 2643893"/>
              <a:gd name="connsiteY55" fmla="*/ 44333 h 2601796"/>
              <a:gd name="connsiteX56" fmla="*/ 2615318 w 2643893"/>
              <a:gd name="connsiteY56" fmla="*/ 53858 h 2601796"/>
              <a:gd name="connsiteX57" fmla="*/ 2629605 w 2643893"/>
              <a:gd name="connsiteY57" fmla="*/ 63383 h 2601796"/>
              <a:gd name="connsiteX58" fmla="*/ 2643893 w 2643893"/>
              <a:gd name="connsiteY58" fmla="*/ 68146 h 2601796"/>
              <a:gd name="connsiteX59" fmla="*/ 2639130 w 2643893"/>
              <a:gd name="connsiteY59" fmla="*/ 2597033 h 2601796"/>
              <a:gd name="connsiteX60" fmla="*/ 705 w 2643893"/>
              <a:gd name="connsiteY60" fmla="*/ 2601796 h 2601796"/>
              <a:gd name="connsiteX61" fmla="*/ 705 w 2643893"/>
              <a:gd name="connsiteY61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210255 w 2643893"/>
              <a:gd name="connsiteY7" fmla="*/ 596783 h 2601796"/>
              <a:gd name="connsiteX8" fmla="*/ 362655 w 2643893"/>
              <a:gd name="connsiteY8" fmla="*/ 506296 h 2601796"/>
              <a:gd name="connsiteX9" fmla="*/ 434093 w 2643893"/>
              <a:gd name="connsiteY9" fmla="*/ 439621 h 2601796"/>
              <a:gd name="connsiteX10" fmla="*/ 462668 w 2643893"/>
              <a:gd name="connsiteY10" fmla="*/ 420571 h 2601796"/>
              <a:gd name="connsiteX11" fmla="*/ 472193 w 2643893"/>
              <a:gd name="connsiteY11" fmla="*/ 406283 h 2601796"/>
              <a:gd name="connsiteX12" fmla="*/ 505530 w 2643893"/>
              <a:gd name="connsiteY12" fmla="*/ 401521 h 2601796"/>
              <a:gd name="connsiteX13" fmla="*/ 534105 w 2643893"/>
              <a:gd name="connsiteY13" fmla="*/ 391996 h 2601796"/>
              <a:gd name="connsiteX14" fmla="*/ 562680 w 2643893"/>
              <a:gd name="connsiteY14" fmla="*/ 382471 h 2601796"/>
              <a:gd name="connsiteX15" fmla="*/ 576968 w 2643893"/>
              <a:gd name="connsiteY15" fmla="*/ 377708 h 2601796"/>
              <a:gd name="connsiteX16" fmla="*/ 586493 w 2643893"/>
              <a:gd name="connsiteY16" fmla="*/ 363421 h 2601796"/>
              <a:gd name="connsiteX17" fmla="*/ 600780 w 2643893"/>
              <a:gd name="connsiteY17" fmla="*/ 353896 h 2601796"/>
              <a:gd name="connsiteX18" fmla="*/ 653168 w 2643893"/>
              <a:gd name="connsiteY18" fmla="*/ 339608 h 2601796"/>
              <a:gd name="connsiteX19" fmla="*/ 667455 w 2643893"/>
              <a:gd name="connsiteY19" fmla="*/ 330083 h 2601796"/>
              <a:gd name="connsiteX20" fmla="*/ 696030 w 2643893"/>
              <a:gd name="connsiteY20" fmla="*/ 306271 h 2601796"/>
              <a:gd name="connsiteX21" fmla="*/ 724605 w 2643893"/>
              <a:gd name="connsiteY21" fmla="*/ 296746 h 2601796"/>
              <a:gd name="connsiteX22" fmla="*/ 753180 w 2643893"/>
              <a:gd name="connsiteY22" fmla="*/ 282458 h 2601796"/>
              <a:gd name="connsiteX23" fmla="*/ 781755 w 2643893"/>
              <a:gd name="connsiteY23" fmla="*/ 268171 h 2601796"/>
              <a:gd name="connsiteX24" fmla="*/ 796043 w 2643893"/>
              <a:gd name="connsiteY24" fmla="*/ 258646 h 2601796"/>
              <a:gd name="connsiteX25" fmla="*/ 810330 w 2643893"/>
              <a:gd name="connsiteY25" fmla="*/ 253883 h 2601796"/>
              <a:gd name="connsiteX26" fmla="*/ 819855 w 2643893"/>
              <a:gd name="connsiteY26" fmla="*/ 239596 h 2601796"/>
              <a:gd name="connsiteX27" fmla="*/ 838905 w 2643893"/>
              <a:gd name="connsiteY27" fmla="*/ 234833 h 2601796"/>
              <a:gd name="connsiteX28" fmla="*/ 867480 w 2643893"/>
              <a:gd name="connsiteY28" fmla="*/ 225308 h 2601796"/>
              <a:gd name="connsiteX29" fmla="*/ 896055 w 2643893"/>
              <a:gd name="connsiteY29" fmla="*/ 215783 h 2601796"/>
              <a:gd name="connsiteX30" fmla="*/ 910343 w 2643893"/>
              <a:gd name="connsiteY30" fmla="*/ 206258 h 2601796"/>
              <a:gd name="connsiteX31" fmla="*/ 924630 w 2643893"/>
              <a:gd name="connsiteY31" fmla="*/ 201496 h 2601796"/>
              <a:gd name="connsiteX32" fmla="*/ 938918 w 2643893"/>
              <a:gd name="connsiteY32" fmla="*/ 191971 h 2601796"/>
              <a:gd name="connsiteX33" fmla="*/ 977018 w 2643893"/>
              <a:gd name="connsiteY33" fmla="*/ 182446 h 2601796"/>
              <a:gd name="connsiteX34" fmla="*/ 1010355 w 2643893"/>
              <a:gd name="connsiteY34" fmla="*/ 172921 h 2601796"/>
              <a:gd name="connsiteX35" fmla="*/ 1053218 w 2643893"/>
              <a:gd name="connsiteY35" fmla="*/ 168158 h 2601796"/>
              <a:gd name="connsiteX36" fmla="*/ 1067505 w 2643893"/>
              <a:gd name="connsiteY36" fmla="*/ 158633 h 2601796"/>
              <a:gd name="connsiteX37" fmla="*/ 1105605 w 2643893"/>
              <a:gd name="connsiteY37" fmla="*/ 149108 h 2601796"/>
              <a:gd name="connsiteX38" fmla="*/ 1134180 w 2643893"/>
              <a:gd name="connsiteY38" fmla="*/ 134821 h 2601796"/>
              <a:gd name="connsiteX39" fmla="*/ 1148468 w 2643893"/>
              <a:gd name="connsiteY39" fmla="*/ 125296 h 2601796"/>
              <a:gd name="connsiteX40" fmla="*/ 1196093 w 2643893"/>
              <a:gd name="connsiteY40" fmla="*/ 111008 h 2601796"/>
              <a:gd name="connsiteX41" fmla="*/ 1224668 w 2643893"/>
              <a:gd name="connsiteY41" fmla="*/ 106246 h 2601796"/>
              <a:gd name="connsiteX42" fmla="*/ 1253243 w 2643893"/>
              <a:gd name="connsiteY42" fmla="*/ 96721 h 2601796"/>
              <a:gd name="connsiteX43" fmla="*/ 1329443 w 2643893"/>
              <a:gd name="connsiteY43" fmla="*/ 87196 h 2601796"/>
              <a:gd name="connsiteX44" fmla="*/ 1372305 w 2643893"/>
              <a:gd name="connsiteY44" fmla="*/ 77671 h 2601796"/>
              <a:gd name="connsiteX45" fmla="*/ 1415168 w 2643893"/>
              <a:gd name="connsiteY45" fmla="*/ 72908 h 2601796"/>
              <a:gd name="connsiteX46" fmla="*/ 1453268 w 2643893"/>
              <a:gd name="connsiteY46" fmla="*/ 63383 h 2601796"/>
              <a:gd name="connsiteX47" fmla="*/ 1524705 w 2643893"/>
              <a:gd name="connsiteY47" fmla="*/ 53858 h 2601796"/>
              <a:gd name="connsiteX48" fmla="*/ 1605668 w 2643893"/>
              <a:gd name="connsiteY48" fmla="*/ 39571 h 2601796"/>
              <a:gd name="connsiteX49" fmla="*/ 1705680 w 2643893"/>
              <a:gd name="connsiteY49" fmla="*/ 30046 h 2601796"/>
              <a:gd name="connsiteX50" fmla="*/ 1881893 w 2643893"/>
              <a:gd name="connsiteY50" fmla="*/ 20521 h 2601796"/>
              <a:gd name="connsiteX51" fmla="*/ 2329568 w 2643893"/>
              <a:gd name="connsiteY51" fmla="*/ 20521 h 2601796"/>
              <a:gd name="connsiteX52" fmla="*/ 2358143 w 2643893"/>
              <a:gd name="connsiteY52" fmla="*/ 30046 h 2601796"/>
              <a:gd name="connsiteX53" fmla="*/ 2386718 w 2643893"/>
              <a:gd name="connsiteY53" fmla="*/ 39571 h 2601796"/>
              <a:gd name="connsiteX54" fmla="*/ 2577218 w 2643893"/>
              <a:gd name="connsiteY54" fmla="*/ 44333 h 2601796"/>
              <a:gd name="connsiteX55" fmla="*/ 2615318 w 2643893"/>
              <a:gd name="connsiteY55" fmla="*/ 53858 h 2601796"/>
              <a:gd name="connsiteX56" fmla="*/ 2629605 w 2643893"/>
              <a:gd name="connsiteY56" fmla="*/ 63383 h 2601796"/>
              <a:gd name="connsiteX57" fmla="*/ 2643893 w 2643893"/>
              <a:gd name="connsiteY57" fmla="*/ 68146 h 2601796"/>
              <a:gd name="connsiteX58" fmla="*/ 2639130 w 2643893"/>
              <a:gd name="connsiteY58" fmla="*/ 2597033 h 2601796"/>
              <a:gd name="connsiteX59" fmla="*/ 705 w 2643893"/>
              <a:gd name="connsiteY59" fmla="*/ 2601796 h 2601796"/>
              <a:gd name="connsiteX60" fmla="*/ 705 w 2643893"/>
              <a:gd name="connsiteY60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95955 w 2643893"/>
              <a:gd name="connsiteY6" fmla="*/ 644408 h 2601796"/>
              <a:gd name="connsiteX7" fmla="*/ 362655 w 2643893"/>
              <a:gd name="connsiteY7" fmla="*/ 506296 h 2601796"/>
              <a:gd name="connsiteX8" fmla="*/ 434093 w 2643893"/>
              <a:gd name="connsiteY8" fmla="*/ 439621 h 2601796"/>
              <a:gd name="connsiteX9" fmla="*/ 462668 w 2643893"/>
              <a:gd name="connsiteY9" fmla="*/ 420571 h 2601796"/>
              <a:gd name="connsiteX10" fmla="*/ 472193 w 2643893"/>
              <a:gd name="connsiteY10" fmla="*/ 406283 h 2601796"/>
              <a:gd name="connsiteX11" fmla="*/ 505530 w 2643893"/>
              <a:gd name="connsiteY11" fmla="*/ 401521 h 2601796"/>
              <a:gd name="connsiteX12" fmla="*/ 534105 w 2643893"/>
              <a:gd name="connsiteY12" fmla="*/ 391996 h 2601796"/>
              <a:gd name="connsiteX13" fmla="*/ 562680 w 2643893"/>
              <a:gd name="connsiteY13" fmla="*/ 382471 h 2601796"/>
              <a:gd name="connsiteX14" fmla="*/ 576968 w 2643893"/>
              <a:gd name="connsiteY14" fmla="*/ 377708 h 2601796"/>
              <a:gd name="connsiteX15" fmla="*/ 586493 w 2643893"/>
              <a:gd name="connsiteY15" fmla="*/ 363421 h 2601796"/>
              <a:gd name="connsiteX16" fmla="*/ 600780 w 2643893"/>
              <a:gd name="connsiteY16" fmla="*/ 353896 h 2601796"/>
              <a:gd name="connsiteX17" fmla="*/ 653168 w 2643893"/>
              <a:gd name="connsiteY17" fmla="*/ 339608 h 2601796"/>
              <a:gd name="connsiteX18" fmla="*/ 667455 w 2643893"/>
              <a:gd name="connsiteY18" fmla="*/ 330083 h 2601796"/>
              <a:gd name="connsiteX19" fmla="*/ 696030 w 2643893"/>
              <a:gd name="connsiteY19" fmla="*/ 306271 h 2601796"/>
              <a:gd name="connsiteX20" fmla="*/ 724605 w 2643893"/>
              <a:gd name="connsiteY20" fmla="*/ 296746 h 2601796"/>
              <a:gd name="connsiteX21" fmla="*/ 753180 w 2643893"/>
              <a:gd name="connsiteY21" fmla="*/ 282458 h 2601796"/>
              <a:gd name="connsiteX22" fmla="*/ 781755 w 2643893"/>
              <a:gd name="connsiteY22" fmla="*/ 268171 h 2601796"/>
              <a:gd name="connsiteX23" fmla="*/ 796043 w 2643893"/>
              <a:gd name="connsiteY23" fmla="*/ 258646 h 2601796"/>
              <a:gd name="connsiteX24" fmla="*/ 810330 w 2643893"/>
              <a:gd name="connsiteY24" fmla="*/ 253883 h 2601796"/>
              <a:gd name="connsiteX25" fmla="*/ 819855 w 2643893"/>
              <a:gd name="connsiteY25" fmla="*/ 239596 h 2601796"/>
              <a:gd name="connsiteX26" fmla="*/ 838905 w 2643893"/>
              <a:gd name="connsiteY26" fmla="*/ 234833 h 2601796"/>
              <a:gd name="connsiteX27" fmla="*/ 867480 w 2643893"/>
              <a:gd name="connsiteY27" fmla="*/ 225308 h 2601796"/>
              <a:gd name="connsiteX28" fmla="*/ 896055 w 2643893"/>
              <a:gd name="connsiteY28" fmla="*/ 215783 h 2601796"/>
              <a:gd name="connsiteX29" fmla="*/ 910343 w 2643893"/>
              <a:gd name="connsiteY29" fmla="*/ 206258 h 2601796"/>
              <a:gd name="connsiteX30" fmla="*/ 924630 w 2643893"/>
              <a:gd name="connsiteY30" fmla="*/ 201496 h 2601796"/>
              <a:gd name="connsiteX31" fmla="*/ 938918 w 2643893"/>
              <a:gd name="connsiteY31" fmla="*/ 191971 h 2601796"/>
              <a:gd name="connsiteX32" fmla="*/ 977018 w 2643893"/>
              <a:gd name="connsiteY32" fmla="*/ 182446 h 2601796"/>
              <a:gd name="connsiteX33" fmla="*/ 1010355 w 2643893"/>
              <a:gd name="connsiteY33" fmla="*/ 172921 h 2601796"/>
              <a:gd name="connsiteX34" fmla="*/ 1053218 w 2643893"/>
              <a:gd name="connsiteY34" fmla="*/ 168158 h 2601796"/>
              <a:gd name="connsiteX35" fmla="*/ 1067505 w 2643893"/>
              <a:gd name="connsiteY35" fmla="*/ 158633 h 2601796"/>
              <a:gd name="connsiteX36" fmla="*/ 1105605 w 2643893"/>
              <a:gd name="connsiteY36" fmla="*/ 149108 h 2601796"/>
              <a:gd name="connsiteX37" fmla="*/ 1134180 w 2643893"/>
              <a:gd name="connsiteY37" fmla="*/ 134821 h 2601796"/>
              <a:gd name="connsiteX38" fmla="*/ 1148468 w 2643893"/>
              <a:gd name="connsiteY38" fmla="*/ 125296 h 2601796"/>
              <a:gd name="connsiteX39" fmla="*/ 1196093 w 2643893"/>
              <a:gd name="connsiteY39" fmla="*/ 111008 h 2601796"/>
              <a:gd name="connsiteX40" fmla="*/ 1224668 w 2643893"/>
              <a:gd name="connsiteY40" fmla="*/ 106246 h 2601796"/>
              <a:gd name="connsiteX41" fmla="*/ 1253243 w 2643893"/>
              <a:gd name="connsiteY41" fmla="*/ 96721 h 2601796"/>
              <a:gd name="connsiteX42" fmla="*/ 1329443 w 2643893"/>
              <a:gd name="connsiteY42" fmla="*/ 87196 h 2601796"/>
              <a:gd name="connsiteX43" fmla="*/ 1372305 w 2643893"/>
              <a:gd name="connsiteY43" fmla="*/ 77671 h 2601796"/>
              <a:gd name="connsiteX44" fmla="*/ 1415168 w 2643893"/>
              <a:gd name="connsiteY44" fmla="*/ 72908 h 2601796"/>
              <a:gd name="connsiteX45" fmla="*/ 1453268 w 2643893"/>
              <a:gd name="connsiteY45" fmla="*/ 63383 h 2601796"/>
              <a:gd name="connsiteX46" fmla="*/ 1524705 w 2643893"/>
              <a:gd name="connsiteY46" fmla="*/ 53858 h 2601796"/>
              <a:gd name="connsiteX47" fmla="*/ 1605668 w 2643893"/>
              <a:gd name="connsiteY47" fmla="*/ 39571 h 2601796"/>
              <a:gd name="connsiteX48" fmla="*/ 1705680 w 2643893"/>
              <a:gd name="connsiteY48" fmla="*/ 30046 h 2601796"/>
              <a:gd name="connsiteX49" fmla="*/ 1881893 w 2643893"/>
              <a:gd name="connsiteY49" fmla="*/ 20521 h 2601796"/>
              <a:gd name="connsiteX50" fmla="*/ 2329568 w 2643893"/>
              <a:gd name="connsiteY50" fmla="*/ 20521 h 2601796"/>
              <a:gd name="connsiteX51" fmla="*/ 2358143 w 2643893"/>
              <a:gd name="connsiteY51" fmla="*/ 30046 h 2601796"/>
              <a:gd name="connsiteX52" fmla="*/ 2386718 w 2643893"/>
              <a:gd name="connsiteY52" fmla="*/ 39571 h 2601796"/>
              <a:gd name="connsiteX53" fmla="*/ 2577218 w 2643893"/>
              <a:gd name="connsiteY53" fmla="*/ 44333 h 2601796"/>
              <a:gd name="connsiteX54" fmla="*/ 2615318 w 2643893"/>
              <a:gd name="connsiteY54" fmla="*/ 53858 h 2601796"/>
              <a:gd name="connsiteX55" fmla="*/ 2629605 w 2643893"/>
              <a:gd name="connsiteY55" fmla="*/ 63383 h 2601796"/>
              <a:gd name="connsiteX56" fmla="*/ 2643893 w 2643893"/>
              <a:gd name="connsiteY56" fmla="*/ 68146 h 2601796"/>
              <a:gd name="connsiteX57" fmla="*/ 2639130 w 2643893"/>
              <a:gd name="connsiteY57" fmla="*/ 2597033 h 2601796"/>
              <a:gd name="connsiteX58" fmla="*/ 705 w 2643893"/>
              <a:gd name="connsiteY58" fmla="*/ 2601796 h 2601796"/>
              <a:gd name="connsiteX59" fmla="*/ 705 w 2643893"/>
              <a:gd name="connsiteY59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86430 w 2643893"/>
              <a:gd name="connsiteY5" fmla="*/ 663458 h 2601796"/>
              <a:gd name="connsiteX6" fmla="*/ 362655 w 2643893"/>
              <a:gd name="connsiteY6" fmla="*/ 506296 h 2601796"/>
              <a:gd name="connsiteX7" fmla="*/ 434093 w 2643893"/>
              <a:gd name="connsiteY7" fmla="*/ 439621 h 2601796"/>
              <a:gd name="connsiteX8" fmla="*/ 462668 w 2643893"/>
              <a:gd name="connsiteY8" fmla="*/ 420571 h 2601796"/>
              <a:gd name="connsiteX9" fmla="*/ 472193 w 2643893"/>
              <a:gd name="connsiteY9" fmla="*/ 406283 h 2601796"/>
              <a:gd name="connsiteX10" fmla="*/ 505530 w 2643893"/>
              <a:gd name="connsiteY10" fmla="*/ 401521 h 2601796"/>
              <a:gd name="connsiteX11" fmla="*/ 534105 w 2643893"/>
              <a:gd name="connsiteY11" fmla="*/ 391996 h 2601796"/>
              <a:gd name="connsiteX12" fmla="*/ 562680 w 2643893"/>
              <a:gd name="connsiteY12" fmla="*/ 382471 h 2601796"/>
              <a:gd name="connsiteX13" fmla="*/ 576968 w 2643893"/>
              <a:gd name="connsiteY13" fmla="*/ 377708 h 2601796"/>
              <a:gd name="connsiteX14" fmla="*/ 586493 w 2643893"/>
              <a:gd name="connsiteY14" fmla="*/ 363421 h 2601796"/>
              <a:gd name="connsiteX15" fmla="*/ 600780 w 2643893"/>
              <a:gd name="connsiteY15" fmla="*/ 353896 h 2601796"/>
              <a:gd name="connsiteX16" fmla="*/ 653168 w 2643893"/>
              <a:gd name="connsiteY16" fmla="*/ 339608 h 2601796"/>
              <a:gd name="connsiteX17" fmla="*/ 667455 w 2643893"/>
              <a:gd name="connsiteY17" fmla="*/ 330083 h 2601796"/>
              <a:gd name="connsiteX18" fmla="*/ 696030 w 2643893"/>
              <a:gd name="connsiteY18" fmla="*/ 306271 h 2601796"/>
              <a:gd name="connsiteX19" fmla="*/ 724605 w 2643893"/>
              <a:gd name="connsiteY19" fmla="*/ 296746 h 2601796"/>
              <a:gd name="connsiteX20" fmla="*/ 753180 w 2643893"/>
              <a:gd name="connsiteY20" fmla="*/ 282458 h 2601796"/>
              <a:gd name="connsiteX21" fmla="*/ 781755 w 2643893"/>
              <a:gd name="connsiteY21" fmla="*/ 268171 h 2601796"/>
              <a:gd name="connsiteX22" fmla="*/ 796043 w 2643893"/>
              <a:gd name="connsiteY22" fmla="*/ 258646 h 2601796"/>
              <a:gd name="connsiteX23" fmla="*/ 810330 w 2643893"/>
              <a:gd name="connsiteY23" fmla="*/ 253883 h 2601796"/>
              <a:gd name="connsiteX24" fmla="*/ 819855 w 2643893"/>
              <a:gd name="connsiteY24" fmla="*/ 239596 h 2601796"/>
              <a:gd name="connsiteX25" fmla="*/ 838905 w 2643893"/>
              <a:gd name="connsiteY25" fmla="*/ 234833 h 2601796"/>
              <a:gd name="connsiteX26" fmla="*/ 867480 w 2643893"/>
              <a:gd name="connsiteY26" fmla="*/ 225308 h 2601796"/>
              <a:gd name="connsiteX27" fmla="*/ 896055 w 2643893"/>
              <a:gd name="connsiteY27" fmla="*/ 215783 h 2601796"/>
              <a:gd name="connsiteX28" fmla="*/ 910343 w 2643893"/>
              <a:gd name="connsiteY28" fmla="*/ 206258 h 2601796"/>
              <a:gd name="connsiteX29" fmla="*/ 924630 w 2643893"/>
              <a:gd name="connsiteY29" fmla="*/ 201496 h 2601796"/>
              <a:gd name="connsiteX30" fmla="*/ 938918 w 2643893"/>
              <a:gd name="connsiteY30" fmla="*/ 191971 h 2601796"/>
              <a:gd name="connsiteX31" fmla="*/ 977018 w 2643893"/>
              <a:gd name="connsiteY31" fmla="*/ 182446 h 2601796"/>
              <a:gd name="connsiteX32" fmla="*/ 1010355 w 2643893"/>
              <a:gd name="connsiteY32" fmla="*/ 172921 h 2601796"/>
              <a:gd name="connsiteX33" fmla="*/ 1053218 w 2643893"/>
              <a:gd name="connsiteY33" fmla="*/ 168158 h 2601796"/>
              <a:gd name="connsiteX34" fmla="*/ 1067505 w 2643893"/>
              <a:gd name="connsiteY34" fmla="*/ 158633 h 2601796"/>
              <a:gd name="connsiteX35" fmla="*/ 1105605 w 2643893"/>
              <a:gd name="connsiteY35" fmla="*/ 149108 h 2601796"/>
              <a:gd name="connsiteX36" fmla="*/ 1134180 w 2643893"/>
              <a:gd name="connsiteY36" fmla="*/ 134821 h 2601796"/>
              <a:gd name="connsiteX37" fmla="*/ 1148468 w 2643893"/>
              <a:gd name="connsiteY37" fmla="*/ 125296 h 2601796"/>
              <a:gd name="connsiteX38" fmla="*/ 1196093 w 2643893"/>
              <a:gd name="connsiteY38" fmla="*/ 111008 h 2601796"/>
              <a:gd name="connsiteX39" fmla="*/ 1224668 w 2643893"/>
              <a:gd name="connsiteY39" fmla="*/ 106246 h 2601796"/>
              <a:gd name="connsiteX40" fmla="*/ 1253243 w 2643893"/>
              <a:gd name="connsiteY40" fmla="*/ 96721 h 2601796"/>
              <a:gd name="connsiteX41" fmla="*/ 1329443 w 2643893"/>
              <a:gd name="connsiteY41" fmla="*/ 87196 h 2601796"/>
              <a:gd name="connsiteX42" fmla="*/ 1372305 w 2643893"/>
              <a:gd name="connsiteY42" fmla="*/ 77671 h 2601796"/>
              <a:gd name="connsiteX43" fmla="*/ 1415168 w 2643893"/>
              <a:gd name="connsiteY43" fmla="*/ 72908 h 2601796"/>
              <a:gd name="connsiteX44" fmla="*/ 1453268 w 2643893"/>
              <a:gd name="connsiteY44" fmla="*/ 63383 h 2601796"/>
              <a:gd name="connsiteX45" fmla="*/ 1524705 w 2643893"/>
              <a:gd name="connsiteY45" fmla="*/ 53858 h 2601796"/>
              <a:gd name="connsiteX46" fmla="*/ 1605668 w 2643893"/>
              <a:gd name="connsiteY46" fmla="*/ 39571 h 2601796"/>
              <a:gd name="connsiteX47" fmla="*/ 1705680 w 2643893"/>
              <a:gd name="connsiteY47" fmla="*/ 30046 h 2601796"/>
              <a:gd name="connsiteX48" fmla="*/ 1881893 w 2643893"/>
              <a:gd name="connsiteY48" fmla="*/ 20521 h 2601796"/>
              <a:gd name="connsiteX49" fmla="*/ 2329568 w 2643893"/>
              <a:gd name="connsiteY49" fmla="*/ 20521 h 2601796"/>
              <a:gd name="connsiteX50" fmla="*/ 2358143 w 2643893"/>
              <a:gd name="connsiteY50" fmla="*/ 30046 h 2601796"/>
              <a:gd name="connsiteX51" fmla="*/ 2386718 w 2643893"/>
              <a:gd name="connsiteY51" fmla="*/ 39571 h 2601796"/>
              <a:gd name="connsiteX52" fmla="*/ 2577218 w 2643893"/>
              <a:gd name="connsiteY52" fmla="*/ 44333 h 2601796"/>
              <a:gd name="connsiteX53" fmla="*/ 2615318 w 2643893"/>
              <a:gd name="connsiteY53" fmla="*/ 53858 h 2601796"/>
              <a:gd name="connsiteX54" fmla="*/ 2629605 w 2643893"/>
              <a:gd name="connsiteY54" fmla="*/ 63383 h 2601796"/>
              <a:gd name="connsiteX55" fmla="*/ 2643893 w 2643893"/>
              <a:gd name="connsiteY55" fmla="*/ 68146 h 2601796"/>
              <a:gd name="connsiteX56" fmla="*/ 2639130 w 2643893"/>
              <a:gd name="connsiteY56" fmla="*/ 2597033 h 2601796"/>
              <a:gd name="connsiteX57" fmla="*/ 705 w 2643893"/>
              <a:gd name="connsiteY57" fmla="*/ 2601796 h 2601796"/>
              <a:gd name="connsiteX58" fmla="*/ 705 w 2643893"/>
              <a:gd name="connsiteY58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76905 w 2643893"/>
              <a:gd name="connsiteY4" fmla="*/ 677746 h 2601796"/>
              <a:gd name="connsiteX5" fmla="*/ 362655 w 2643893"/>
              <a:gd name="connsiteY5" fmla="*/ 506296 h 2601796"/>
              <a:gd name="connsiteX6" fmla="*/ 434093 w 2643893"/>
              <a:gd name="connsiteY6" fmla="*/ 439621 h 2601796"/>
              <a:gd name="connsiteX7" fmla="*/ 462668 w 2643893"/>
              <a:gd name="connsiteY7" fmla="*/ 420571 h 2601796"/>
              <a:gd name="connsiteX8" fmla="*/ 472193 w 2643893"/>
              <a:gd name="connsiteY8" fmla="*/ 406283 h 2601796"/>
              <a:gd name="connsiteX9" fmla="*/ 505530 w 2643893"/>
              <a:gd name="connsiteY9" fmla="*/ 401521 h 2601796"/>
              <a:gd name="connsiteX10" fmla="*/ 534105 w 2643893"/>
              <a:gd name="connsiteY10" fmla="*/ 391996 h 2601796"/>
              <a:gd name="connsiteX11" fmla="*/ 562680 w 2643893"/>
              <a:gd name="connsiteY11" fmla="*/ 382471 h 2601796"/>
              <a:gd name="connsiteX12" fmla="*/ 576968 w 2643893"/>
              <a:gd name="connsiteY12" fmla="*/ 377708 h 2601796"/>
              <a:gd name="connsiteX13" fmla="*/ 586493 w 2643893"/>
              <a:gd name="connsiteY13" fmla="*/ 363421 h 2601796"/>
              <a:gd name="connsiteX14" fmla="*/ 600780 w 2643893"/>
              <a:gd name="connsiteY14" fmla="*/ 353896 h 2601796"/>
              <a:gd name="connsiteX15" fmla="*/ 653168 w 2643893"/>
              <a:gd name="connsiteY15" fmla="*/ 339608 h 2601796"/>
              <a:gd name="connsiteX16" fmla="*/ 667455 w 2643893"/>
              <a:gd name="connsiteY16" fmla="*/ 330083 h 2601796"/>
              <a:gd name="connsiteX17" fmla="*/ 696030 w 2643893"/>
              <a:gd name="connsiteY17" fmla="*/ 306271 h 2601796"/>
              <a:gd name="connsiteX18" fmla="*/ 724605 w 2643893"/>
              <a:gd name="connsiteY18" fmla="*/ 296746 h 2601796"/>
              <a:gd name="connsiteX19" fmla="*/ 753180 w 2643893"/>
              <a:gd name="connsiteY19" fmla="*/ 282458 h 2601796"/>
              <a:gd name="connsiteX20" fmla="*/ 781755 w 2643893"/>
              <a:gd name="connsiteY20" fmla="*/ 268171 h 2601796"/>
              <a:gd name="connsiteX21" fmla="*/ 796043 w 2643893"/>
              <a:gd name="connsiteY21" fmla="*/ 258646 h 2601796"/>
              <a:gd name="connsiteX22" fmla="*/ 810330 w 2643893"/>
              <a:gd name="connsiteY22" fmla="*/ 253883 h 2601796"/>
              <a:gd name="connsiteX23" fmla="*/ 819855 w 2643893"/>
              <a:gd name="connsiteY23" fmla="*/ 239596 h 2601796"/>
              <a:gd name="connsiteX24" fmla="*/ 838905 w 2643893"/>
              <a:gd name="connsiteY24" fmla="*/ 234833 h 2601796"/>
              <a:gd name="connsiteX25" fmla="*/ 867480 w 2643893"/>
              <a:gd name="connsiteY25" fmla="*/ 225308 h 2601796"/>
              <a:gd name="connsiteX26" fmla="*/ 896055 w 2643893"/>
              <a:gd name="connsiteY26" fmla="*/ 215783 h 2601796"/>
              <a:gd name="connsiteX27" fmla="*/ 910343 w 2643893"/>
              <a:gd name="connsiteY27" fmla="*/ 206258 h 2601796"/>
              <a:gd name="connsiteX28" fmla="*/ 924630 w 2643893"/>
              <a:gd name="connsiteY28" fmla="*/ 201496 h 2601796"/>
              <a:gd name="connsiteX29" fmla="*/ 938918 w 2643893"/>
              <a:gd name="connsiteY29" fmla="*/ 191971 h 2601796"/>
              <a:gd name="connsiteX30" fmla="*/ 977018 w 2643893"/>
              <a:gd name="connsiteY30" fmla="*/ 182446 h 2601796"/>
              <a:gd name="connsiteX31" fmla="*/ 1010355 w 2643893"/>
              <a:gd name="connsiteY31" fmla="*/ 172921 h 2601796"/>
              <a:gd name="connsiteX32" fmla="*/ 1053218 w 2643893"/>
              <a:gd name="connsiteY32" fmla="*/ 168158 h 2601796"/>
              <a:gd name="connsiteX33" fmla="*/ 1067505 w 2643893"/>
              <a:gd name="connsiteY33" fmla="*/ 158633 h 2601796"/>
              <a:gd name="connsiteX34" fmla="*/ 1105605 w 2643893"/>
              <a:gd name="connsiteY34" fmla="*/ 149108 h 2601796"/>
              <a:gd name="connsiteX35" fmla="*/ 1134180 w 2643893"/>
              <a:gd name="connsiteY35" fmla="*/ 134821 h 2601796"/>
              <a:gd name="connsiteX36" fmla="*/ 1148468 w 2643893"/>
              <a:gd name="connsiteY36" fmla="*/ 125296 h 2601796"/>
              <a:gd name="connsiteX37" fmla="*/ 1196093 w 2643893"/>
              <a:gd name="connsiteY37" fmla="*/ 111008 h 2601796"/>
              <a:gd name="connsiteX38" fmla="*/ 1224668 w 2643893"/>
              <a:gd name="connsiteY38" fmla="*/ 106246 h 2601796"/>
              <a:gd name="connsiteX39" fmla="*/ 1253243 w 2643893"/>
              <a:gd name="connsiteY39" fmla="*/ 96721 h 2601796"/>
              <a:gd name="connsiteX40" fmla="*/ 1329443 w 2643893"/>
              <a:gd name="connsiteY40" fmla="*/ 87196 h 2601796"/>
              <a:gd name="connsiteX41" fmla="*/ 1372305 w 2643893"/>
              <a:gd name="connsiteY41" fmla="*/ 77671 h 2601796"/>
              <a:gd name="connsiteX42" fmla="*/ 1415168 w 2643893"/>
              <a:gd name="connsiteY42" fmla="*/ 72908 h 2601796"/>
              <a:gd name="connsiteX43" fmla="*/ 1453268 w 2643893"/>
              <a:gd name="connsiteY43" fmla="*/ 63383 h 2601796"/>
              <a:gd name="connsiteX44" fmla="*/ 1524705 w 2643893"/>
              <a:gd name="connsiteY44" fmla="*/ 53858 h 2601796"/>
              <a:gd name="connsiteX45" fmla="*/ 1605668 w 2643893"/>
              <a:gd name="connsiteY45" fmla="*/ 39571 h 2601796"/>
              <a:gd name="connsiteX46" fmla="*/ 1705680 w 2643893"/>
              <a:gd name="connsiteY46" fmla="*/ 30046 h 2601796"/>
              <a:gd name="connsiteX47" fmla="*/ 1881893 w 2643893"/>
              <a:gd name="connsiteY47" fmla="*/ 20521 h 2601796"/>
              <a:gd name="connsiteX48" fmla="*/ 2329568 w 2643893"/>
              <a:gd name="connsiteY48" fmla="*/ 20521 h 2601796"/>
              <a:gd name="connsiteX49" fmla="*/ 2358143 w 2643893"/>
              <a:gd name="connsiteY49" fmla="*/ 30046 h 2601796"/>
              <a:gd name="connsiteX50" fmla="*/ 2386718 w 2643893"/>
              <a:gd name="connsiteY50" fmla="*/ 39571 h 2601796"/>
              <a:gd name="connsiteX51" fmla="*/ 2577218 w 2643893"/>
              <a:gd name="connsiteY51" fmla="*/ 44333 h 2601796"/>
              <a:gd name="connsiteX52" fmla="*/ 2615318 w 2643893"/>
              <a:gd name="connsiteY52" fmla="*/ 53858 h 2601796"/>
              <a:gd name="connsiteX53" fmla="*/ 2629605 w 2643893"/>
              <a:gd name="connsiteY53" fmla="*/ 63383 h 2601796"/>
              <a:gd name="connsiteX54" fmla="*/ 2643893 w 2643893"/>
              <a:gd name="connsiteY54" fmla="*/ 68146 h 2601796"/>
              <a:gd name="connsiteX55" fmla="*/ 2639130 w 2643893"/>
              <a:gd name="connsiteY55" fmla="*/ 2597033 h 2601796"/>
              <a:gd name="connsiteX56" fmla="*/ 705 w 2643893"/>
              <a:gd name="connsiteY56" fmla="*/ 2601796 h 2601796"/>
              <a:gd name="connsiteX57" fmla="*/ 705 w 2643893"/>
              <a:gd name="connsiteY57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48330 w 2643893"/>
              <a:gd name="connsiteY3" fmla="*/ 696796 h 2601796"/>
              <a:gd name="connsiteX4" fmla="*/ 362655 w 2643893"/>
              <a:gd name="connsiteY4" fmla="*/ 506296 h 2601796"/>
              <a:gd name="connsiteX5" fmla="*/ 434093 w 2643893"/>
              <a:gd name="connsiteY5" fmla="*/ 439621 h 2601796"/>
              <a:gd name="connsiteX6" fmla="*/ 462668 w 2643893"/>
              <a:gd name="connsiteY6" fmla="*/ 420571 h 2601796"/>
              <a:gd name="connsiteX7" fmla="*/ 472193 w 2643893"/>
              <a:gd name="connsiteY7" fmla="*/ 406283 h 2601796"/>
              <a:gd name="connsiteX8" fmla="*/ 505530 w 2643893"/>
              <a:gd name="connsiteY8" fmla="*/ 401521 h 2601796"/>
              <a:gd name="connsiteX9" fmla="*/ 534105 w 2643893"/>
              <a:gd name="connsiteY9" fmla="*/ 391996 h 2601796"/>
              <a:gd name="connsiteX10" fmla="*/ 562680 w 2643893"/>
              <a:gd name="connsiteY10" fmla="*/ 382471 h 2601796"/>
              <a:gd name="connsiteX11" fmla="*/ 576968 w 2643893"/>
              <a:gd name="connsiteY11" fmla="*/ 377708 h 2601796"/>
              <a:gd name="connsiteX12" fmla="*/ 586493 w 2643893"/>
              <a:gd name="connsiteY12" fmla="*/ 363421 h 2601796"/>
              <a:gd name="connsiteX13" fmla="*/ 600780 w 2643893"/>
              <a:gd name="connsiteY13" fmla="*/ 353896 h 2601796"/>
              <a:gd name="connsiteX14" fmla="*/ 653168 w 2643893"/>
              <a:gd name="connsiteY14" fmla="*/ 339608 h 2601796"/>
              <a:gd name="connsiteX15" fmla="*/ 667455 w 2643893"/>
              <a:gd name="connsiteY15" fmla="*/ 330083 h 2601796"/>
              <a:gd name="connsiteX16" fmla="*/ 696030 w 2643893"/>
              <a:gd name="connsiteY16" fmla="*/ 306271 h 2601796"/>
              <a:gd name="connsiteX17" fmla="*/ 724605 w 2643893"/>
              <a:gd name="connsiteY17" fmla="*/ 296746 h 2601796"/>
              <a:gd name="connsiteX18" fmla="*/ 753180 w 2643893"/>
              <a:gd name="connsiteY18" fmla="*/ 282458 h 2601796"/>
              <a:gd name="connsiteX19" fmla="*/ 781755 w 2643893"/>
              <a:gd name="connsiteY19" fmla="*/ 268171 h 2601796"/>
              <a:gd name="connsiteX20" fmla="*/ 796043 w 2643893"/>
              <a:gd name="connsiteY20" fmla="*/ 258646 h 2601796"/>
              <a:gd name="connsiteX21" fmla="*/ 810330 w 2643893"/>
              <a:gd name="connsiteY21" fmla="*/ 253883 h 2601796"/>
              <a:gd name="connsiteX22" fmla="*/ 819855 w 2643893"/>
              <a:gd name="connsiteY22" fmla="*/ 239596 h 2601796"/>
              <a:gd name="connsiteX23" fmla="*/ 838905 w 2643893"/>
              <a:gd name="connsiteY23" fmla="*/ 234833 h 2601796"/>
              <a:gd name="connsiteX24" fmla="*/ 867480 w 2643893"/>
              <a:gd name="connsiteY24" fmla="*/ 225308 h 2601796"/>
              <a:gd name="connsiteX25" fmla="*/ 896055 w 2643893"/>
              <a:gd name="connsiteY25" fmla="*/ 215783 h 2601796"/>
              <a:gd name="connsiteX26" fmla="*/ 910343 w 2643893"/>
              <a:gd name="connsiteY26" fmla="*/ 206258 h 2601796"/>
              <a:gd name="connsiteX27" fmla="*/ 924630 w 2643893"/>
              <a:gd name="connsiteY27" fmla="*/ 201496 h 2601796"/>
              <a:gd name="connsiteX28" fmla="*/ 938918 w 2643893"/>
              <a:gd name="connsiteY28" fmla="*/ 191971 h 2601796"/>
              <a:gd name="connsiteX29" fmla="*/ 977018 w 2643893"/>
              <a:gd name="connsiteY29" fmla="*/ 182446 h 2601796"/>
              <a:gd name="connsiteX30" fmla="*/ 1010355 w 2643893"/>
              <a:gd name="connsiteY30" fmla="*/ 172921 h 2601796"/>
              <a:gd name="connsiteX31" fmla="*/ 1053218 w 2643893"/>
              <a:gd name="connsiteY31" fmla="*/ 168158 h 2601796"/>
              <a:gd name="connsiteX32" fmla="*/ 1067505 w 2643893"/>
              <a:gd name="connsiteY32" fmla="*/ 158633 h 2601796"/>
              <a:gd name="connsiteX33" fmla="*/ 1105605 w 2643893"/>
              <a:gd name="connsiteY33" fmla="*/ 149108 h 2601796"/>
              <a:gd name="connsiteX34" fmla="*/ 1134180 w 2643893"/>
              <a:gd name="connsiteY34" fmla="*/ 134821 h 2601796"/>
              <a:gd name="connsiteX35" fmla="*/ 1148468 w 2643893"/>
              <a:gd name="connsiteY35" fmla="*/ 125296 h 2601796"/>
              <a:gd name="connsiteX36" fmla="*/ 1196093 w 2643893"/>
              <a:gd name="connsiteY36" fmla="*/ 111008 h 2601796"/>
              <a:gd name="connsiteX37" fmla="*/ 1224668 w 2643893"/>
              <a:gd name="connsiteY37" fmla="*/ 106246 h 2601796"/>
              <a:gd name="connsiteX38" fmla="*/ 1253243 w 2643893"/>
              <a:gd name="connsiteY38" fmla="*/ 96721 h 2601796"/>
              <a:gd name="connsiteX39" fmla="*/ 1329443 w 2643893"/>
              <a:gd name="connsiteY39" fmla="*/ 87196 h 2601796"/>
              <a:gd name="connsiteX40" fmla="*/ 1372305 w 2643893"/>
              <a:gd name="connsiteY40" fmla="*/ 77671 h 2601796"/>
              <a:gd name="connsiteX41" fmla="*/ 1415168 w 2643893"/>
              <a:gd name="connsiteY41" fmla="*/ 72908 h 2601796"/>
              <a:gd name="connsiteX42" fmla="*/ 1453268 w 2643893"/>
              <a:gd name="connsiteY42" fmla="*/ 63383 h 2601796"/>
              <a:gd name="connsiteX43" fmla="*/ 1524705 w 2643893"/>
              <a:gd name="connsiteY43" fmla="*/ 53858 h 2601796"/>
              <a:gd name="connsiteX44" fmla="*/ 1605668 w 2643893"/>
              <a:gd name="connsiteY44" fmla="*/ 39571 h 2601796"/>
              <a:gd name="connsiteX45" fmla="*/ 1705680 w 2643893"/>
              <a:gd name="connsiteY45" fmla="*/ 30046 h 2601796"/>
              <a:gd name="connsiteX46" fmla="*/ 1881893 w 2643893"/>
              <a:gd name="connsiteY46" fmla="*/ 20521 h 2601796"/>
              <a:gd name="connsiteX47" fmla="*/ 2329568 w 2643893"/>
              <a:gd name="connsiteY47" fmla="*/ 20521 h 2601796"/>
              <a:gd name="connsiteX48" fmla="*/ 2358143 w 2643893"/>
              <a:gd name="connsiteY48" fmla="*/ 30046 h 2601796"/>
              <a:gd name="connsiteX49" fmla="*/ 2386718 w 2643893"/>
              <a:gd name="connsiteY49" fmla="*/ 39571 h 2601796"/>
              <a:gd name="connsiteX50" fmla="*/ 2577218 w 2643893"/>
              <a:gd name="connsiteY50" fmla="*/ 44333 h 2601796"/>
              <a:gd name="connsiteX51" fmla="*/ 2615318 w 2643893"/>
              <a:gd name="connsiteY51" fmla="*/ 53858 h 2601796"/>
              <a:gd name="connsiteX52" fmla="*/ 2629605 w 2643893"/>
              <a:gd name="connsiteY52" fmla="*/ 63383 h 2601796"/>
              <a:gd name="connsiteX53" fmla="*/ 2643893 w 2643893"/>
              <a:gd name="connsiteY53" fmla="*/ 68146 h 2601796"/>
              <a:gd name="connsiteX54" fmla="*/ 2639130 w 2643893"/>
              <a:gd name="connsiteY54" fmla="*/ 2597033 h 2601796"/>
              <a:gd name="connsiteX55" fmla="*/ 705 w 2643893"/>
              <a:gd name="connsiteY55" fmla="*/ 2601796 h 2601796"/>
              <a:gd name="connsiteX56" fmla="*/ 705 w 2643893"/>
              <a:gd name="connsiteY56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362655 w 2643893"/>
              <a:gd name="connsiteY3" fmla="*/ 506296 h 2601796"/>
              <a:gd name="connsiteX4" fmla="*/ 434093 w 2643893"/>
              <a:gd name="connsiteY4" fmla="*/ 439621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00780 w 2643893"/>
              <a:gd name="connsiteY12" fmla="*/ 353896 h 2601796"/>
              <a:gd name="connsiteX13" fmla="*/ 653168 w 2643893"/>
              <a:gd name="connsiteY13" fmla="*/ 339608 h 2601796"/>
              <a:gd name="connsiteX14" fmla="*/ 667455 w 2643893"/>
              <a:gd name="connsiteY14" fmla="*/ 330083 h 2601796"/>
              <a:gd name="connsiteX15" fmla="*/ 696030 w 2643893"/>
              <a:gd name="connsiteY15" fmla="*/ 306271 h 2601796"/>
              <a:gd name="connsiteX16" fmla="*/ 724605 w 2643893"/>
              <a:gd name="connsiteY16" fmla="*/ 296746 h 2601796"/>
              <a:gd name="connsiteX17" fmla="*/ 753180 w 2643893"/>
              <a:gd name="connsiteY17" fmla="*/ 282458 h 2601796"/>
              <a:gd name="connsiteX18" fmla="*/ 781755 w 2643893"/>
              <a:gd name="connsiteY18" fmla="*/ 268171 h 2601796"/>
              <a:gd name="connsiteX19" fmla="*/ 796043 w 2643893"/>
              <a:gd name="connsiteY19" fmla="*/ 258646 h 2601796"/>
              <a:gd name="connsiteX20" fmla="*/ 810330 w 2643893"/>
              <a:gd name="connsiteY20" fmla="*/ 253883 h 2601796"/>
              <a:gd name="connsiteX21" fmla="*/ 819855 w 2643893"/>
              <a:gd name="connsiteY21" fmla="*/ 239596 h 2601796"/>
              <a:gd name="connsiteX22" fmla="*/ 838905 w 2643893"/>
              <a:gd name="connsiteY22" fmla="*/ 234833 h 2601796"/>
              <a:gd name="connsiteX23" fmla="*/ 867480 w 2643893"/>
              <a:gd name="connsiteY23" fmla="*/ 225308 h 2601796"/>
              <a:gd name="connsiteX24" fmla="*/ 896055 w 2643893"/>
              <a:gd name="connsiteY24" fmla="*/ 215783 h 2601796"/>
              <a:gd name="connsiteX25" fmla="*/ 910343 w 2643893"/>
              <a:gd name="connsiteY25" fmla="*/ 206258 h 2601796"/>
              <a:gd name="connsiteX26" fmla="*/ 924630 w 2643893"/>
              <a:gd name="connsiteY26" fmla="*/ 201496 h 2601796"/>
              <a:gd name="connsiteX27" fmla="*/ 938918 w 2643893"/>
              <a:gd name="connsiteY27" fmla="*/ 191971 h 2601796"/>
              <a:gd name="connsiteX28" fmla="*/ 977018 w 2643893"/>
              <a:gd name="connsiteY28" fmla="*/ 182446 h 2601796"/>
              <a:gd name="connsiteX29" fmla="*/ 1010355 w 2643893"/>
              <a:gd name="connsiteY29" fmla="*/ 172921 h 2601796"/>
              <a:gd name="connsiteX30" fmla="*/ 1053218 w 2643893"/>
              <a:gd name="connsiteY30" fmla="*/ 168158 h 2601796"/>
              <a:gd name="connsiteX31" fmla="*/ 1067505 w 2643893"/>
              <a:gd name="connsiteY31" fmla="*/ 158633 h 2601796"/>
              <a:gd name="connsiteX32" fmla="*/ 1105605 w 2643893"/>
              <a:gd name="connsiteY32" fmla="*/ 149108 h 2601796"/>
              <a:gd name="connsiteX33" fmla="*/ 1134180 w 2643893"/>
              <a:gd name="connsiteY33" fmla="*/ 134821 h 2601796"/>
              <a:gd name="connsiteX34" fmla="*/ 1148468 w 2643893"/>
              <a:gd name="connsiteY34" fmla="*/ 125296 h 2601796"/>
              <a:gd name="connsiteX35" fmla="*/ 1196093 w 2643893"/>
              <a:gd name="connsiteY35" fmla="*/ 111008 h 2601796"/>
              <a:gd name="connsiteX36" fmla="*/ 1224668 w 2643893"/>
              <a:gd name="connsiteY36" fmla="*/ 106246 h 2601796"/>
              <a:gd name="connsiteX37" fmla="*/ 1253243 w 2643893"/>
              <a:gd name="connsiteY37" fmla="*/ 96721 h 2601796"/>
              <a:gd name="connsiteX38" fmla="*/ 1329443 w 2643893"/>
              <a:gd name="connsiteY38" fmla="*/ 87196 h 2601796"/>
              <a:gd name="connsiteX39" fmla="*/ 1372305 w 2643893"/>
              <a:gd name="connsiteY39" fmla="*/ 77671 h 2601796"/>
              <a:gd name="connsiteX40" fmla="*/ 1415168 w 2643893"/>
              <a:gd name="connsiteY40" fmla="*/ 72908 h 2601796"/>
              <a:gd name="connsiteX41" fmla="*/ 1453268 w 2643893"/>
              <a:gd name="connsiteY41" fmla="*/ 63383 h 2601796"/>
              <a:gd name="connsiteX42" fmla="*/ 1524705 w 2643893"/>
              <a:gd name="connsiteY42" fmla="*/ 53858 h 2601796"/>
              <a:gd name="connsiteX43" fmla="*/ 1605668 w 2643893"/>
              <a:gd name="connsiteY43" fmla="*/ 39571 h 2601796"/>
              <a:gd name="connsiteX44" fmla="*/ 1705680 w 2643893"/>
              <a:gd name="connsiteY44" fmla="*/ 30046 h 2601796"/>
              <a:gd name="connsiteX45" fmla="*/ 1881893 w 2643893"/>
              <a:gd name="connsiteY45" fmla="*/ 20521 h 2601796"/>
              <a:gd name="connsiteX46" fmla="*/ 2329568 w 2643893"/>
              <a:gd name="connsiteY46" fmla="*/ 20521 h 2601796"/>
              <a:gd name="connsiteX47" fmla="*/ 2358143 w 2643893"/>
              <a:gd name="connsiteY47" fmla="*/ 30046 h 2601796"/>
              <a:gd name="connsiteX48" fmla="*/ 2386718 w 2643893"/>
              <a:gd name="connsiteY48" fmla="*/ 39571 h 2601796"/>
              <a:gd name="connsiteX49" fmla="*/ 2577218 w 2643893"/>
              <a:gd name="connsiteY49" fmla="*/ 44333 h 2601796"/>
              <a:gd name="connsiteX50" fmla="*/ 2615318 w 2643893"/>
              <a:gd name="connsiteY50" fmla="*/ 53858 h 2601796"/>
              <a:gd name="connsiteX51" fmla="*/ 2629605 w 2643893"/>
              <a:gd name="connsiteY51" fmla="*/ 63383 h 2601796"/>
              <a:gd name="connsiteX52" fmla="*/ 2643893 w 2643893"/>
              <a:gd name="connsiteY52" fmla="*/ 68146 h 2601796"/>
              <a:gd name="connsiteX53" fmla="*/ 2639130 w 2643893"/>
              <a:gd name="connsiteY53" fmla="*/ 2597033 h 2601796"/>
              <a:gd name="connsiteX54" fmla="*/ 705 w 2643893"/>
              <a:gd name="connsiteY54" fmla="*/ 2601796 h 2601796"/>
              <a:gd name="connsiteX55" fmla="*/ 705 w 2643893"/>
              <a:gd name="connsiteY55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38805 w 2643893"/>
              <a:gd name="connsiteY2" fmla="*/ 711083 h 2601796"/>
              <a:gd name="connsiteX3" fmla="*/ 315030 w 2643893"/>
              <a:gd name="connsiteY3" fmla="*/ 449146 h 2601796"/>
              <a:gd name="connsiteX4" fmla="*/ 434093 w 2643893"/>
              <a:gd name="connsiteY4" fmla="*/ 439621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00780 w 2643893"/>
              <a:gd name="connsiteY12" fmla="*/ 353896 h 2601796"/>
              <a:gd name="connsiteX13" fmla="*/ 653168 w 2643893"/>
              <a:gd name="connsiteY13" fmla="*/ 339608 h 2601796"/>
              <a:gd name="connsiteX14" fmla="*/ 667455 w 2643893"/>
              <a:gd name="connsiteY14" fmla="*/ 330083 h 2601796"/>
              <a:gd name="connsiteX15" fmla="*/ 696030 w 2643893"/>
              <a:gd name="connsiteY15" fmla="*/ 306271 h 2601796"/>
              <a:gd name="connsiteX16" fmla="*/ 724605 w 2643893"/>
              <a:gd name="connsiteY16" fmla="*/ 296746 h 2601796"/>
              <a:gd name="connsiteX17" fmla="*/ 753180 w 2643893"/>
              <a:gd name="connsiteY17" fmla="*/ 282458 h 2601796"/>
              <a:gd name="connsiteX18" fmla="*/ 781755 w 2643893"/>
              <a:gd name="connsiteY18" fmla="*/ 268171 h 2601796"/>
              <a:gd name="connsiteX19" fmla="*/ 796043 w 2643893"/>
              <a:gd name="connsiteY19" fmla="*/ 258646 h 2601796"/>
              <a:gd name="connsiteX20" fmla="*/ 810330 w 2643893"/>
              <a:gd name="connsiteY20" fmla="*/ 253883 h 2601796"/>
              <a:gd name="connsiteX21" fmla="*/ 819855 w 2643893"/>
              <a:gd name="connsiteY21" fmla="*/ 239596 h 2601796"/>
              <a:gd name="connsiteX22" fmla="*/ 838905 w 2643893"/>
              <a:gd name="connsiteY22" fmla="*/ 234833 h 2601796"/>
              <a:gd name="connsiteX23" fmla="*/ 867480 w 2643893"/>
              <a:gd name="connsiteY23" fmla="*/ 225308 h 2601796"/>
              <a:gd name="connsiteX24" fmla="*/ 896055 w 2643893"/>
              <a:gd name="connsiteY24" fmla="*/ 215783 h 2601796"/>
              <a:gd name="connsiteX25" fmla="*/ 910343 w 2643893"/>
              <a:gd name="connsiteY25" fmla="*/ 206258 h 2601796"/>
              <a:gd name="connsiteX26" fmla="*/ 924630 w 2643893"/>
              <a:gd name="connsiteY26" fmla="*/ 201496 h 2601796"/>
              <a:gd name="connsiteX27" fmla="*/ 938918 w 2643893"/>
              <a:gd name="connsiteY27" fmla="*/ 191971 h 2601796"/>
              <a:gd name="connsiteX28" fmla="*/ 977018 w 2643893"/>
              <a:gd name="connsiteY28" fmla="*/ 182446 h 2601796"/>
              <a:gd name="connsiteX29" fmla="*/ 1010355 w 2643893"/>
              <a:gd name="connsiteY29" fmla="*/ 172921 h 2601796"/>
              <a:gd name="connsiteX30" fmla="*/ 1053218 w 2643893"/>
              <a:gd name="connsiteY30" fmla="*/ 168158 h 2601796"/>
              <a:gd name="connsiteX31" fmla="*/ 1067505 w 2643893"/>
              <a:gd name="connsiteY31" fmla="*/ 158633 h 2601796"/>
              <a:gd name="connsiteX32" fmla="*/ 1105605 w 2643893"/>
              <a:gd name="connsiteY32" fmla="*/ 149108 h 2601796"/>
              <a:gd name="connsiteX33" fmla="*/ 1134180 w 2643893"/>
              <a:gd name="connsiteY33" fmla="*/ 134821 h 2601796"/>
              <a:gd name="connsiteX34" fmla="*/ 1148468 w 2643893"/>
              <a:gd name="connsiteY34" fmla="*/ 125296 h 2601796"/>
              <a:gd name="connsiteX35" fmla="*/ 1196093 w 2643893"/>
              <a:gd name="connsiteY35" fmla="*/ 111008 h 2601796"/>
              <a:gd name="connsiteX36" fmla="*/ 1224668 w 2643893"/>
              <a:gd name="connsiteY36" fmla="*/ 106246 h 2601796"/>
              <a:gd name="connsiteX37" fmla="*/ 1253243 w 2643893"/>
              <a:gd name="connsiteY37" fmla="*/ 96721 h 2601796"/>
              <a:gd name="connsiteX38" fmla="*/ 1329443 w 2643893"/>
              <a:gd name="connsiteY38" fmla="*/ 87196 h 2601796"/>
              <a:gd name="connsiteX39" fmla="*/ 1372305 w 2643893"/>
              <a:gd name="connsiteY39" fmla="*/ 77671 h 2601796"/>
              <a:gd name="connsiteX40" fmla="*/ 1415168 w 2643893"/>
              <a:gd name="connsiteY40" fmla="*/ 72908 h 2601796"/>
              <a:gd name="connsiteX41" fmla="*/ 1453268 w 2643893"/>
              <a:gd name="connsiteY41" fmla="*/ 63383 h 2601796"/>
              <a:gd name="connsiteX42" fmla="*/ 1524705 w 2643893"/>
              <a:gd name="connsiteY42" fmla="*/ 53858 h 2601796"/>
              <a:gd name="connsiteX43" fmla="*/ 1605668 w 2643893"/>
              <a:gd name="connsiteY43" fmla="*/ 39571 h 2601796"/>
              <a:gd name="connsiteX44" fmla="*/ 1705680 w 2643893"/>
              <a:gd name="connsiteY44" fmla="*/ 30046 h 2601796"/>
              <a:gd name="connsiteX45" fmla="*/ 1881893 w 2643893"/>
              <a:gd name="connsiteY45" fmla="*/ 20521 h 2601796"/>
              <a:gd name="connsiteX46" fmla="*/ 2329568 w 2643893"/>
              <a:gd name="connsiteY46" fmla="*/ 20521 h 2601796"/>
              <a:gd name="connsiteX47" fmla="*/ 2358143 w 2643893"/>
              <a:gd name="connsiteY47" fmla="*/ 30046 h 2601796"/>
              <a:gd name="connsiteX48" fmla="*/ 2386718 w 2643893"/>
              <a:gd name="connsiteY48" fmla="*/ 39571 h 2601796"/>
              <a:gd name="connsiteX49" fmla="*/ 2577218 w 2643893"/>
              <a:gd name="connsiteY49" fmla="*/ 44333 h 2601796"/>
              <a:gd name="connsiteX50" fmla="*/ 2615318 w 2643893"/>
              <a:gd name="connsiteY50" fmla="*/ 53858 h 2601796"/>
              <a:gd name="connsiteX51" fmla="*/ 2629605 w 2643893"/>
              <a:gd name="connsiteY51" fmla="*/ 63383 h 2601796"/>
              <a:gd name="connsiteX52" fmla="*/ 2643893 w 2643893"/>
              <a:gd name="connsiteY52" fmla="*/ 68146 h 2601796"/>
              <a:gd name="connsiteX53" fmla="*/ 2639130 w 2643893"/>
              <a:gd name="connsiteY53" fmla="*/ 2597033 h 2601796"/>
              <a:gd name="connsiteX54" fmla="*/ 705 w 2643893"/>
              <a:gd name="connsiteY54" fmla="*/ 2601796 h 2601796"/>
              <a:gd name="connsiteX55" fmla="*/ 705 w 2643893"/>
              <a:gd name="connsiteY55" fmla="*/ 730133 h 2601796"/>
              <a:gd name="connsiteX0" fmla="*/ 705 w 2643893"/>
              <a:gd name="connsiteY0" fmla="*/ 730133 h 2601796"/>
              <a:gd name="connsiteX1" fmla="*/ 705 w 2643893"/>
              <a:gd name="connsiteY1" fmla="*/ 730133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34093 w 2643893"/>
              <a:gd name="connsiteY4" fmla="*/ 439621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00780 w 2643893"/>
              <a:gd name="connsiteY12" fmla="*/ 353896 h 2601796"/>
              <a:gd name="connsiteX13" fmla="*/ 653168 w 2643893"/>
              <a:gd name="connsiteY13" fmla="*/ 339608 h 2601796"/>
              <a:gd name="connsiteX14" fmla="*/ 667455 w 2643893"/>
              <a:gd name="connsiteY14" fmla="*/ 330083 h 2601796"/>
              <a:gd name="connsiteX15" fmla="*/ 696030 w 2643893"/>
              <a:gd name="connsiteY15" fmla="*/ 306271 h 2601796"/>
              <a:gd name="connsiteX16" fmla="*/ 724605 w 2643893"/>
              <a:gd name="connsiteY16" fmla="*/ 296746 h 2601796"/>
              <a:gd name="connsiteX17" fmla="*/ 753180 w 2643893"/>
              <a:gd name="connsiteY17" fmla="*/ 282458 h 2601796"/>
              <a:gd name="connsiteX18" fmla="*/ 781755 w 2643893"/>
              <a:gd name="connsiteY18" fmla="*/ 268171 h 2601796"/>
              <a:gd name="connsiteX19" fmla="*/ 796043 w 2643893"/>
              <a:gd name="connsiteY19" fmla="*/ 258646 h 2601796"/>
              <a:gd name="connsiteX20" fmla="*/ 810330 w 2643893"/>
              <a:gd name="connsiteY20" fmla="*/ 253883 h 2601796"/>
              <a:gd name="connsiteX21" fmla="*/ 819855 w 2643893"/>
              <a:gd name="connsiteY21" fmla="*/ 239596 h 2601796"/>
              <a:gd name="connsiteX22" fmla="*/ 838905 w 2643893"/>
              <a:gd name="connsiteY22" fmla="*/ 234833 h 2601796"/>
              <a:gd name="connsiteX23" fmla="*/ 867480 w 2643893"/>
              <a:gd name="connsiteY23" fmla="*/ 225308 h 2601796"/>
              <a:gd name="connsiteX24" fmla="*/ 896055 w 2643893"/>
              <a:gd name="connsiteY24" fmla="*/ 215783 h 2601796"/>
              <a:gd name="connsiteX25" fmla="*/ 910343 w 2643893"/>
              <a:gd name="connsiteY25" fmla="*/ 206258 h 2601796"/>
              <a:gd name="connsiteX26" fmla="*/ 924630 w 2643893"/>
              <a:gd name="connsiteY26" fmla="*/ 201496 h 2601796"/>
              <a:gd name="connsiteX27" fmla="*/ 938918 w 2643893"/>
              <a:gd name="connsiteY27" fmla="*/ 191971 h 2601796"/>
              <a:gd name="connsiteX28" fmla="*/ 977018 w 2643893"/>
              <a:gd name="connsiteY28" fmla="*/ 182446 h 2601796"/>
              <a:gd name="connsiteX29" fmla="*/ 1010355 w 2643893"/>
              <a:gd name="connsiteY29" fmla="*/ 172921 h 2601796"/>
              <a:gd name="connsiteX30" fmla="*/ 1053218 w 2643893"/>
              <a:gd name="connsiteY30" fmla="*/ 168158 h 2601796"/>
              <a:gd name="connsiteX31" fmla="*/ 1067505 w 2643893"/>
              <a:gd name="connsiteY31" fmla="*/ 158633 h 2601796"/>
              <a:gd name="connsiteX32" fmla="*/ 1105605 w 2643893"/>
              <a:gd name="connsiteY32" fmla="*/ 149108 h 2601796"/>
              <a:gd name="connsiteX33" fmla="*/ 1134180 w 2643893"/>
              <a:gd name="connsiteY33" fmla="*/ 134821 h 2601796"/>
              <a:gd name="connsiteX34" fmla="*/ 1148468 w 2643893"/>
              <a:gd name="connsiteY34" fmla="*/ 125296 h 2601796"/>
              <a:gd name="connsiteX35" fmla="*/ 1196093 w 2643893"/>
              <a:gd name="connsiteY35" fmla="*/ 111008 h 2601796"/>
              <a:gd name="connsiteX36" fmla="*/ 1224668 w 2643893"/>
              <a:gd name="connsiteY36" fmla="*/ 106246 h 2601796"/>
              <a:gd name="connsiteX37" fmla="*/ 1253243 w 2643893"/>
              <a:gd name="connsiteY37" fmla="*/ 96721 h 2601796"/>
              <a:gd name="connsiteX38" fmla="*/ 1329443 w 2643893"/>
              <a:gd name="connsiteY38" fmla="*/ 87196 h 2601796"/>
              <a:gd name="connsiteX39" fmla="*/ 1372305 w 2643893"/>
              <a:gd name="connsiteY39" fmla="*/ 77671 h 2601796"/>
              <a:gd name="connsiteX40" fmla="*/ 1415168 w 2643893"/>
              <a:gd name="connsiteY40" fmla="*/ 72908 h 2601796"/>
              <a:gd name="connsiteX41" fmla="*/ 1453268 w 2643893"/>
              <a:gd name="connsiteY41" fmla="*/ 63383 h 2601796"/>
              <a:gd name="connsiteX42" fmla="*/ 1524705 w 2643893"/>
              <a:gd name="connsiteY42" fmla="*/ 53858 h 2601796"/>
              <a:gd name="connsiteX43" fmla="*/ 1605668 w 2643893"/>
              <a:gd name="connsiteY43" fmla="*/ 39571 h 2601796"/>
              <a:gd name="connsiteX44" fmla="*/ 1705680 w 2643893"/>
              <a:gd name="connsiteY44" fmla="*/ 30046 h 2601796"/>
              <a:gd name="connsiteX45" fmla="*/ 1881893 w 2643893"/>
              <a:gd name="connsiteY45" fmla="*/ 20521 h 2601796"/>
              <a:gd name="connsiteX46" fmla="*/ 2329568 w 2643893"/>
              <a:gd name="connsiteY46" fmla="*/ 20521 h 2601796"/>
              <a:gd name="connsiteX47" fmla="*/ 2358143 w 2643893"/>
              <a:gd name="connsiteY47" fmla="*/ 30046 h 2601796"/>
              <a:gd name="connsiteX48" fmla="*/ 2386718 w 2643893"/>
              <a:gd name="connsiteY48" fmla="*/ 39571 h 2601796"/>
              <a:gd name="connsiteX49" fmla="*/ 2577218 w 2643893"/>
              <a:gd name="connsiteY49" fmla="*/ 44333 h 2601796"/>
              <a:gd name="connsiteX50" fmla="*/ 2615318 w 2643893"/>
              <a:gd name="connsiteY50" fmla="*/ 53858 h 2601796"/>
              <a:gd name="connsiteX51" fmla="*/ 2629605 w 2643893"/>
              <a:gd name="connsiteY51" fmla="*/ 63383 h 2601796"/>
              <a:gd name="connsiteX52" fmla="*/ 2643893 w 2643893"/>
              <a:gd name="connsiteY52" fmla="*/ 68146 h 2601796"/>
              <a:gd name="connsiteX53" fmla="*/ 2639130 w 2643893"/>
              <a:gd name="connsiteY53" fmla="*/ 2597033 h 2601796"/>
              <a:gd name="connsiteX54" fmla="*/ 705 w 2643893"/>
              <a:gd name="connsiteY54" fmla="*/ 2601796 h 2601796"/>
              <a:gd name="connsiteX55" fmla="*/ 705 w 2643893"/>
              <a:gd name="connsiteY55" fmla="*/ 730133 h 2601796"/>
              <a:gd name="connsiteX0" fmla="*/ 705 w 2643893"/>
              <a:gd name="connsiteY0" fmla="*/ 577733 h 2601796"/>
              <a:gd name="connsiteX1" fmla="*/ 705 w 2643893"/>
              <a:gd name="connsiteY1" fmla="*/ 730133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34093 w 2643893"/>
              <a:gd name="connsiteY4" fmla="*/ 439621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00780 w 2643893"/>
              <a:gd name="connsiteY12" fmla="*/ 353896 h 2601796"/>
              <a:gd name="connsiteX13" fmla="*/ 653168 w 2643893"/>
              <a:gd name="connsiteY13" fmla="*/ 339608 h 2601796"/>
              <a:gd name="connsiteX14" fmla="*/ 667455 w 2643893"/>
              <a:gd name="connsiteY14" fmla="*/ 330083 h 2601796"/>
              <a:gd name="connsiteX15" fmla="*/ 696030 w 2643893"/>
              <a:gd name="connsiteY15" fmla="*/ 306271 h 2601796"/>
              <a:gd name="connsiteX16" fmla="*/ 724605 w 2643893"/>
              <a:gd name="connsiteY16" fmla="*/ 296746 h 2601796"/>
              <a:gd name="connsiteX17" fmla="*/ 753180 w 2643893"/>
              <a:gd name="connsiteY17" fmla="*/ 282458 h 2601796"/>
              <a:gd name="connsiteX18" fmla="*/ 781755 w 2643893"/>
              <a:gd name="connsiteY18" fmla="*/ 268171 h 2601796"/>
              <a:gd name="connsiteX19" fmla="*/ 796043 w 2643893"/>
              <a:gd name="connsiteY19" fmla="*/ 258646 h 2601796"/>
              <a:gd name="connsiteX20" fmla="*/ 810330 w 2643893"/>
              <a:gd name="connsiteY20" fmla="*/ 253883 h 2601796"/>
              <a:gd name="connsiteX21" fmla="*/ 819855 w 2643893"/>
              <a:gd name="connsiteY21" fmla="*/ 239596 h 2601796"/>
              <a:gd name="connsiteX22" fmla="*/ 838905 w 2643893"/>
              <a:gd name="connsiteY22" fmla="*/ 234833 h 2601796"/>
              <a:gd name="connsiteX23" fmla="*/ 867480 w 2643893"/>
              <a:gd name="connsiteY23" fmla="*/ 225308 h 2601796"/>
              <a:gd name="connsiteX24" fmla="*/ 896055 w 2643893"/>
              <a:gd name="connsiteY24" fmla="*/ 215783 h 2601796"/>
              <a:gd name="connsiteX25" fmla="*/ 910343 w 2643893"/>
              <a:gd name="connsiteY25" fmla="*/ 206258 h 2601796"/>
              <a:gd name="connsiteX26" fmla="*/ 924630 w 2643893"/>
              <a:gd name="connsiteY26" fmla="*/ 201496 h 2601796"/>
              <a:gd name="connsiteX27" fmla="*/ 938918 w 2643893"/>
              <a:gd name="connsiteY27" fmla="*/ 191971 h 2601796"/>
              <a:gd name="connsiteX28" fmla="*/ 977018 w 2643893"/>
              <a:gd name="connsiteY28" fmla="*/ 182446 h 2601796"/>
              <a:gd name="connsiteX29" fmla="*/ 1010355 w 2643893"/>
              <a:gd name="connsiteY29" fmla="*/ 172921 h 2601796"/>
              <a:gd name="connsiteX30" fmla="*/ 1053218 w 2643893"/>
              <a:gd name="connsiteY30" fmla="*/ 168158 h 2601796"/>
              <a:gd name="connsiteX31" fmla="*/ 1067505 w 2643893"/>
              <a:gd name="connsiteY31" fmla="*/ 158633 h 2601796"/>
              <a:gd name="connsiteX32" fmla="*/ 1105605 w 2643893"/>
              <a:gd name="connsiteY32" fmla="*/ 149108 h 2601796"/>
              <a:gd name="connsiteX33" fmla="*/ 1134180 w 2643893"/>
              <a:gd name="connsiteY33" fmla="*/ 134821 h 2601796"/>
              <a:gd name="connsiteX34" fmla="*/ 1148468 w 2643893"/>
              <a:gd name="connsiteY34" fmla="*/ 125296 h 2601796"/>
              <a:gd name="connsiteX35" fmla="*/ 1196093 w 2643893"/>
              <a:gd name="connsiteY35" fmla="*/ 111008 h 2601796"/>
              <a:gd name="connsiteX36" fmla="*/ 1224668 w 2643893"/>
              <a:gd name="connsiteY36" fmla="*/ 106246 h 2601796"/>
              <a:gd name="connsiteX37" fmla="*/ 1253243 w 2643893"/>
              <a:gd name="connsiteY37" fmla="*/ 96721 h 2601796"/>
              <a:gd name="connsiteX38" fmla="*/ 1329443 w 2643893"/>
              <a:gd name="connsiteY38" fmla="*/ 87196 h 2601796"/>
              <a:gd name="connsiteX39" fmla="*/ 1372305 w 2643893"/>
              <a:gd name="connsiteY39" fmla="*/ 77671 h 2601796"/>
              <a:gd name="connsiteX40" fmla="*/ 1415168 w 2643893"/>
              <a:gd name="connsiteY40" fmla="*/ 72908 h 2601796"/>
              <a:gd name="connsiteX41" fmla="*/ 1453268 w 2643893"/>
              <a:gd name="connsiteY41" fmla="*/ 63383 h 2601796"/>
              <a:gd name="connsiteX42" fmla="*/ 1524705 w 2643893"/>
              <a:gd name="connsiteY42" fmla="*/ 53858 h 2601796"/>
              <a:gd name="connsiteX43" fmla="*/ 1605668 w 2643893"/>
              <a:gd name="connsiteY43" fmla="*/ 39571 h 2601796"/>
              <a:gd name="connsiteX44" fmla="*/ 1705680 w 2643893"/>
              <a:gd name="connsiteY44" fmla="*/ 30046 h 2601796"/>
              <a:gd name="connsiteX45" fmla="*/ 1881893 w 2643893"/>
              <a:gd name="connsiteY45" fmla="*/ 20521 h 2601796"/>
              <a:gd name="connsiteX46" fmla="*/ 2329568 w 2643893"/>
              <a:gd name="connsiteY46" fmla="*/ 20521 h 2601796"/>
              <a:gd name="connsiteX47" fmla="*/ 2358143 w 2643893"/>
              <a:gd name="connsiteY47" fmla="*/ 30046 h 2601796"/>
              <a:gd name="connsiteX48" fmla="*/ 2386718 w 2643893"/>
              <a:gd name="connsiteY48" fmla="*/ 39571 h 2601796"/>
              <a:gd name="connsiteX49" fmla="*/ 2577218 w 2643893"/>
              <a:gd name="connsiteY49" fmla="*/ 44333 h 2601796"/>
              <a:gd name="connsiteX50" fmla="*/ 2615318 w 2643893"/>
              <a:gd name="connsiteY50" fmla="*/ 53858 h 2601796"/>
              <a:gd name="connsiteX51" fmla="*/ 2629605 w 2643893"/>
              <a:gd name="connsiteY51" fmla="*/ 63383 h 2601796"/>
              <a:gd name="connsiteX52" fmla="*/ 2643893 w 2643893"/>
              <a:gd name="connsiteY52" fmla="*/ 68146 h 2601796"/>
              <a:gd name="connsiteX53" fmla="*/ 2639130 w 2643893"/>
              <a:gd name="connsiteY53" fmla="*/ 2597033 h 2601796"/>
              <a:gd name="connsiteX54" fmla="*/ 705 w 2643893"/>
              <a:gd name="connsiteY54" fmla="*/ 2601796 h 2601796"/>
              <a:gd name="connsiteX55" fmla="*/ 705 w 2643893"/>
              <a:gd name="connsiteY55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34093 w 2643893"/>
              <a:gd name="connsiteY4" fmla="*/ 439621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00780 w 2643893"/>
              <a:gd name="connsiteY12" fmla="*/ 353896 h 2601796"/>
              <a:gd name="connsiteX13" fmla="*/ 653168 w 2643893"/>
              <a:gd name="connsiteY13" fmla="*/ 339608 h 2601796"/>
              <a:gd name="connsiteX14" fmla="*/ 667455 w 2643893"/>
              <a:gd name="connsiteY14" fmla="*/ 330083 h 2601796"/>
              <a:gd name="connsiteX15" fmla="*/ 696030 w 2643893"/>
              <a:gd name="connsiteY15" fmla="*/ 306271 h 2601796"/>
              <a:gd name="connsiteX16" fmla="*/ 724605 w 2643893"/>
              <a:gd name="connsiteY16" fmla="*/ 296746 h 2601796"/>
              <a:gd name="connsiteX17" fmla="*/ 753180 w 2643893"/>
              <a:gd name="connsiteY17" fmla="*/ 282458 h 2601796"/>
              <a:gd name="connsiteX18" fmla="*/ 781755 w 2643893"/>
              <a:gd name="connsiteY18" fmla="*/ 268171 h 2601796"/>
              <a:gd name="connsiteX19" fmla="*/ 796043 w 2643893"/>
              <a:gd name="connsiteY19" fmla="*/ 258646 h 2601796"/>
              <a:gd name="connsiteX20" fmla="*/ 810330 w 2643893"/>
              <a:gd name="connsiteY20" fmla="*/ 253883 h 2601796"/>
              <a:gd name="connsiteX21" fmla="*/ 819855 w 2643893"/>
              <a:gd name="connsiteY21" fmla="*/ 239596 h 2601796"/>
              <a:gd name="connsiteX22" fmla="*/ 838905 w 2643893"/>
              <a:gd name="connsiteY22" fmla="*/ 234833 h 2601796"/>
              <a:gd name="connsiteX23" fmla="*/ 867480 w 2643893"/>
              <a:gd name="connsiteY23" fmla="*/ 225308 h 2601796"/>
              <a:gd name="connsiteX24" fmla="*/ 896055 w 2643893"/>
              <a:gd name="connsiteY24" fmla="*/ 215783 h 2601796"/>
              <a:gd name="connsiteX25" fmla="*/ 910343 w 2643893"/>
              <a:gd name="connsiteY25" fmla="*/ 206258 h 2601796"/>
              <a:gd name="connsiteX26" fmla="*/ 924630 w 2643893"/>
              <a:gd name="connsiteY26" fmla="*/ 201496 h 2601796"/>
              <a:gd name="connsiteX27" fmla="*/ 938918 w 2643893"/>
              <a:gd name="connsiteY27" fmla="*/ 191971 h 2601796"/>
              <a:gd name="connsiteX28" fmla="*/ 977018 w 2643893"/>
              <a:gd name="connsiteY28" fmla="*/ 182446 h 2601796"/>
              <a:gd name="connsiteX29" fmla="*/ 1010355 w 2643893"/>
              <a:gd name="connsiteY29" fmla="*/ 172921 h 2601796"/>
              <a:gd name="connsiteX30" fmla="*/ 1053218 w 2643893"/>
              <a:gd name="connsiteY30" fmla="*/ 168158 h 2601796"/>
              <a:gd name="connsiteX31" fmla="*/ 1067505 w 2643893"/>
              <a:gd name="connsiteY31" fmla="*/ 158633 h 2601796"/>
              <a:gd name="connsiteX32" fmla="*/ 1105605 w 2643893"/>
              <a:gd name="connsiteY32" fmla="*/ 149108 h 2601796"/>
              <a:gd name="connsiteX33" fmla="*/ 1134180 w 2643893"/>
              <a:gd name="connsiteY33" fmla="*/ 134821 h 2601796"/>
              <a:gd name="connsiteX34" fmla="*/ 1148468 w 2643893"/>
              <a:gd name="connsiteY34" fmla="*/ 125296 h 2601796"/>
              <a:gd name="connsiteX35" fmla="*/ 1196093 w 2643893"/>
              <a:gd name="connsiteY35" fmla="*/ 111008 h 2601796"/>
              <a:gd name="connsiteX36" fmla="*/ 1224668 w 2643893"/>
              <a:gd name="connsiteY36" fmla="*/ 106246 h 2601796"/>
              <a:gd name="connsiteX37" fmla="*/ 1253243 w 2643893"/>
              <a:gd name="connsiteY37" fmla="*/ 96721 h 2601796"/>
              <a:gd name="connsiteX38" fmla="*/ 1329443 w 2643893"/>
              <a:gd name="connsiteY38" fmla="*/ 87196 h 2601796"/>
              <a:gd name="connsiteX39" fmla="*/ 1372305 w 2643893"/>
              <a:gd name="connsiteY39" fmla="*/ 77671 h 2601796"/>
              <a:gd name="connsiteX40" fmla="*/ 1415168 w 2643893"/>
              <a:gd name="connsiteY40" fmla="*/ 72908 h 2601796"/>
              <a:gd name="connsiteX41" fmla="*/ 1453268 w 2643893"/>
              <a:gd name="connsiteY41" fmla="*/ 63383 h 2601796"/>
              <a:gd name="connsiteX42" fmla="*/ 1524705 w 2643893"/>
              <a:gd name="connsiteY42" fmla="*/ 53858 h 2601796"/>
              <a:gd name="connsiteX43" fmla="*/ 1605668 w 2643893"/>
              <a:gd name="connsiteY43" fmla="*/ 39571 h 2601796"/>
              <a:gd name="connsiteX44" fmla="*/ 1705680 w 2643893"/>
              <a:gd name="connsiteY44" fmla="*/ 30046 h 2601796"/>
              <a:gd name="connsiteX45" fmla="*/ 1881893 w 2643893"/>
              <a:gd name="connsiteY45" fmla="*/ 20521 h 2601796"/>
              <a:gd name="connsiteX46" fmla="*/ 2329568 w 2643893"/>
              <a:gd name="connsiteY46" fmla="*/ 20521 h 2601796"/>
              <a:gd name="connsiteX47" fmla="*/ 2358143 w 2643893"/>
              <a:gd name="connsiteY47" fmla="*/ 30046 h 2601796"/>
              <a:gd name="connsiteX48" fmla="*/ 2386718 w 2643893"/>
              <a:gd name="connsiteY48" fmla="*/ 39571 h 2601796"/>
              <a:gd name="connsiteX49" fmla="*/ 2577218 w 2643893"/>
              <a:gd name="connsiteY49" fmla="*/ 44333 h 2601796"/>
              <a:gd name="connsiteX50" fmla="*/ 2615318 w 2643893"/>
              <a:gd name="connsiteY50" fmla="*/ 53858 h 2601796"/>
              <a:gd name="connsiteX51" fmla="*/ 2629605 w 2643893"/>
              <a:gd name="connsiteY51" fmla="*/ 63383 h 2601796"/>
              <a:gd name="connsiteX52" fmla="*/ 2643893 w 2643893"/>
              <a:gd name="connsiteY52" fmla="*/ 68146 h 2601796"/>
              <a:gd name="connsiteX53" fmla="*/ 2639130 w 2643893"/>
              <a:gd name="connsiteY53" fmla="*/ 2597033 h 2601796"/>
              <a:gd name="connsiteX54" fmla="*/ 705 w 2643893"/>
              <a:gd name="connsiteY54" fmla="*/ 2601796 h 2601796"/>
              <a:gd name="connsiteX55" fmla="*/ 705 w 2643893"/>
              <a:gd name="connsiteY55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00780 w 2643893"/>
              <a:gd name="connsiteY12" fmla="*/ 353896 h 2601796"/>
              <a:gd name="connsiteX13" fmla="*/ 653168 w 2643893"/>
              <a:gd name="connsiteY13" fmla="*/ 339608 h 2601796"/>
              <a:gd name="connsiteX14" fmla="*/ 667455 w 2643893"/>
              <a:gd name="connsiteY14" fmla="*/ 330083 h 2601796"/>
              <a:gd name="connsiteX15" fmla="*/ 696030 w 2643893"/>
              <a:gd name="connsiteY15" fmla="*/ 306271 h 2601796"/>
              <a:gd name="connsiteX16" fmla="*/ 724605 w 2643893"/>
              <a:gd name="connsiteY16" fmla="*/ 296746 h 2601796"/>
              <a:gd name="connsiteX17" fmla="*/ 753180 w 2643893"/>
              <a:gd name="connsiteY17" fmla="*/ 282458 h 2601796"/>
              <a:gd name="connsiteX18" fmla="*/ 781755 w 2643893"/>
              <a:gd name="connsiteY18" fmla="*/ 268171 h 2601796"/>
              <a:gd name="connsiteX19" fmla="*/ 796043 w 2643893"/>
              <a:gd name="connsiteY19" fmla="*/ 258646 h 2601796"/>
              <a:gd name="connsiteX20" fmla="*/ 810330 w 2643893"/>
              <a:gd name="connsiteY20" fmla="*/ 253883 h 2601796"/>
              <a:gd name="connsiteX21" fmla="*/ 819855 w 2643893"/>
              <a:gd name="connsiteY21" fmla="*/ 239596 h 2601796"/>
              <a:gd name="connsiteX22" fmla="*/ 838905 w 2643893"/>
              <a:gd name="connsiteY22" fmla="*/ 234833 h 2601796"/>
              <a:gd name="connsiteX23" fmla="*/ 867480 w 2643893"/>
              <a:gd name="connsiteY23" fmla="*/ 225308 h 2601796"/>
              <a:gd name="connsiteX24" fmla="*/ 896055 w 2643893"/>
              <a:gd name="connsiteY24" fmla="*/ 215783 h 2601796"/>
              <a:gd name="connsiteX25" fmla="*/ 910343 w 2643893"/>
              <a:gd name="connsiteY25" fmla="*/ 206258 h 2601796"/>
              <a:gd name="connsiteX26" fmla="*/ 924630 w 2643893"/>
              <a:gd name="connsiteY26" fmla="*/ 201496 h 2601796"/>
              <a:gd name="connsiteX27" fmla="*/ 938918 w 2643893"/>
              <a:gd name="connsiteY27" fmla="*/ 191971 h 2601796"/>
              <a:gd name="connsiteX28" fmla="*/ 977018 w 2643893"/>
              <a:gd name="connsiteY28" fmla="*/ 182446 h 2601796"/>
              <a:gd name="connsiteX29" fmla="*/ 1010355 w 2643893"/>
              <a:gd name="connsiteY29" fmla="*/ 172921 h 2601796"/>
              <a:gd name="connsiteX30" fmla="*/ 1053218 w 2643893"/>
              <a:gd name="connsiteY30" fmla="*/ 168158 h 2601796"/>
              <a:gd name="connsiteX31" fmla="*/ 1067505 w 2643893"/>
              <a:gd name="connsiteY31" fmla="*/ 158633 h 2601796"/>
              <a:gd name="connsiteX32" fmla="*/ 1105605 w 2643893"/>
              <a:gd name="connsiteY32" fmla="*/ 149108 h 2601796"/>
              <a:gd name="connsiteX33" fmla="*/ 1134180 w 2643893"/>
              <a:gd name="connsiteY33" fmla="*/ 134821 h 2601796"/>
              <a:gd name="connsiteX34" fmla="*/ 1148468 w 2643893"/>
              <a:gd name="connsiteY34" fmla="*/ 125296 h 2601796"/>
              <a:gd name="connsiteX35" fmla="*/ 1196093 w 2643893"/>
              <a:gd name="connsiteY35" fmla="*/ 111008 h 2601796"/>
              <a:gd name="connsiteX36" fmla="*/ 1224668 w 2643893"/>
              <a:gd name="connsiteY36" fmla="*/ 106246 h 2601796"/>
              <a:gd name="connsiteX37" fmla="*/ 1253243 w 2643893"/>
              <a:gd name="connsiteY37" fmla="*/ 96721 h 2601796"/>
              <a:gd name="connsiteX38" fmla="*/ 1329443 w 2643893"/>
              <a:gd name="connsiteY38" fmla="*/ 87196 h 2601796"/>
              <a:gd name="connsiteX39" fmla="*/ 1372305 w 2643893"/>
              <a:gd name="connsiteY39" fmla="*/ 77671 h 2601796"/>
              <a:gd name="connsiteX40" fmla="*/ 1415168 w 2643893"/>
              <a:gd name="connsiteY40" fmla="*/ 72908 h 2601796"/>
              <a:gd name="connsiteX41" fmla="*/ 1453268 w 2643893"/>
              <a:gd name="connsiteY41" fmla="*/ 63383 h 2601796"/>
              <a:gd name="connsiteX42" fmla="*/ 1524705 w 2643893"/>
              <a:gd name="connsiteY42" fmla="*/ 53858 h 2601796"/>
              <a:gd name="connsiteX43" fmla="*/ 1605668 w 2643893"/>
              <a:gd name="connsiteY43" fmla="*/ 39571 h 2601796"/>
              <a:gd name="connsiteX44" fmla="*/ 1705680 w 2643893"/>
              <a:gd name="connsiteY44" fmla="*/ 30046 h 2601796"/>
              <a:gd name="connsiteX45" fmla="*/ 1881893 w 2643893"/>
              <a:gd name="connsiteY45" fmla="*/ 20521 h 2601796"/>
              <a:gd name="connsiteX46" fmla="*/ 2329568 w 2643893"/>
              <a:gd name="connsiteY46" fmla="*/ 20521 h 2601796"/>
              <a:gd name="connsiteX47" fmla="*/ 2358143 w 2643893"/>
              <a:gd name="connsiteY47" fmla="*/ 30046 h 2601796"/>
              <a:gd name="connsiteX48" fmla="*/ 2386718 w 2643893"/>
              <a:gd name="connsiteY48" fmla="*/ 39571 h 2601796"/>
              <a:gd name="connsiteX49" fmla="*/ 2577218 w 2643893"/>
              <a:gd name="connsiteY49" fmla="*/ 44333 h 2601796"/>
              <a:gd name="connsiteX50" fmla="*/ 2615318 w 2643893"/>
              <a:gd name="connsiteY50" fmla="*/ 53858 h 2601796"/>
              <a:gd name="connsiteX51" fmla="*/ 2629605 w 2643893"/>
              <a:gd name="connsiteY51" fmla="*/ 63383 h 2601796"/>
              <a:gd name="connsiteX52" fmla="*/ 2643893 w 2643893"/>
              <a:gd name="connsiteY52" fmla="*/ 68146 h 2601796"/>
              <a:gd name="connsiteX53" fmla="*/ 2639130 w 2643893"/>
              <a:gd name="connsiteY53" fmla="*/ 2597033 h 2601796"/>
              <a:gd name="connsiteX54" fmla="*/ 705 w 2643893"/>
              <a:gd name="connsiteY54" fmla="*/ 2601796 h 2601796"/>
              <a:gd name="connsiteX55" fmla="*/ 705 w 2643893"/>
              <a:gd name="connsiteY55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34105 w 2643893"/>
              <a:gd name="connsiteY8" fmla="*/ 391996 h 2601796"/>
              <a:gd name="connsiteX9" fmla="*/ 562680 w 2643893"/>
              <a:gd name="connsiteY9" fmla="*/ 382471 h 2601796"/>
              <a:gd name="connsiteX10" fmla="*/ 576968 w 2643893"/>
              <a:gd name="connsiteY10" fmla="*/ 377708 h 2601796"/>
              <a:gd name="connsiteX11" fmla="*/ 586493 w 2643893"/>
              <a:gd name="connsiteY11" fmla="*/ 363421 h 2601796"/>
              <a:gd name="connsiteX12" fmla="*/ 653168 w 2643893"/>
              <a:gd name="connsiteY12" fmla="*/ 339608 h 2601796"/>
              <a:gd name="connsiteX13" fmla="*/ 667455 w 2643893"/>
              <a:gd name="connsiteY13" fmla="*/ 330083 h 2601796"/>
              <a:gd name="connsiteX14" fmla="*/ 696030 w 2643893"/>
              <a:gd name="connsiteY14" fmla="*/ 306271 h 2601796"/>
              <a:gd name="connsiteX15" fmla="*/ 724605 w 2643893"/>
              <a:gd name="connsiteY15" fmla="*/ 296746 h 2601796"/>
              <a:gd name="connsiteX16" fmla="*/ 753180 w 2643893"/>
              <a:gd name="connsiteY16" fmla="*/ 282458 h 2601796"/>
              <a:gd name="connsiteX17" fmla="*/ 781755 w 2643893"/>
              <a:gd name="connsiteY17" fmla="*/ 268171 h 2601796"/>
              <a:gd name="connsiteX18" fmla="*/ 796043 w 2643893"/>
              <a:gd name="connsiteY18" fmla="*/ 258646 h 2601796"/>
              <a:gd name="connsiteX19" fmla="*/ 810330 w 2643893"/>
              <a:gd name="connsiteY19" fmla="*/ 253883 h 2601796"/>
              <a:gd name="connsiteX20" fmla="*/ 819855 w 2643893"/>
              <a:gd name="connsiteY20" fmla="*/ 239596 h 2601796"/>
              <a:gd name="connsiteX21" fmla="*/ 838905 w 2643893"/>
              <a:gd name="connsiteY21" fmla="*/ 234833 h 2601796"/>
              <a:gd name="connsiteX22" fmla="*/ 867480 w 2643893"/>
              <a:gd name="connsiteY22" fmla="*/ 225308 h 2601796"/>
              <a:gd name="connsiteX23" fmla="*/ 896055 w 2643893"/>
              <a:gd name="connsiteY23" fmla="*/ 215783 h 2601796"/>
              <a:gd name="connsiteX24" fmla="*/ 910343 w 2643893"/>
              <a:gd name="connsiteY24" fmla="*/ 206258 h 2601796"/>
              <a:gd name="connsiteX25" fmla="*/ 924630 w 2643893"/>
              <a:gd name="connsiteY25" fmla="*/ 201496 h 2601796"/>
              <a:gd name="connsiteX26" fmla="*/ 938918 w 2643893"/>
              <a:gd name="connsiteY26" fmla="*/ 191971 h 2601796"/>
              <a:gd name="connsiteX27" fmla="*/ 977018 w 2643893"/>
              <a:gd name="connsiteY27" fmla="*/ 182446 h 2601796"/>
              <a:gd name="connsiteX28" fmla="*/ 1010355 w 2643893"/>
              <a:gd name="connsiteY28" fmla="*/ 172921 h 2601796"/>
              <a:gd name="connsiteX29" fmla="*/ 1053218 w 2643893"/>
              <a:gd name="connsiteY29" fmla="*/ 168158 h 2601796"/>
              <a:gd name="connsiteX30" fmla="*/ 1067505 w 2643893"/>
              <a:gd name="connsiteY30" fmla="*/ 158633 h 2601796"/>
              <a:gd name="connsiteX31" fmla="*/ 1105605 w 2643893"/>
              <a:gd name="connsiteY31" fmla="*/ 149108 h 2601796"/>
              <a:gd name="connsiteX32" fmla="*/ 1134180 w 2643893"/>
              <a:gd name="connsiteY32" fmla="*/ 134821 h 2601796"/>
              <a:gd name="connsiteX33" fmla="*/ 1148468 w 2643893"/>
              <a:gd name="connsiteY33" fmla="*/ 125296 h 2601796"/>
              <a:gd name="connsiteX34" fmla="*/ 1196093 w 2643893"/>
              <a:gd name="connsiteY34" fmla="*/ 111008 h 2601796"/>
              <a:gd name="connsiteX35" fmla="*/ 1224668 w 2643893"/>
              <a:gd name="connsiteY35" fmla="*/ 106246 h 2601796"/>
              <a:gd name="connsiteX36" fmla="*/ 1253243 w 2643893"/>
              <a:gd name="connsiteY36" fmla="*/ 96721 h 2601796"/>
              <a:gd name="connsiteX37" fmla="*/ 1329443 w 2643893"/>
              <a:gd name="connsiteY37" fmla="*/ 87196 h 2601796"/>
              <a:gd name="connsiteX38" fmla="*/ 1372305 w 2643893"/>
              <a:gd name="connsiteY38" fmla="*/ 77671 h 2601796"/>
              <a:gd name="connsiteX39" fmla="*/ 1415168 w 2643893"/>
              <a:gd name="connsiteY39" fmla="*/ 72908 h 2601796"/>
              <a:gd name="connsiteX40" fmla="*/ 1453268 w 2643893"/>
              <a:gd name="connsiteY40" fmla="*/ 63383 h 2601796"/>
              <a:gd name="connsiteX41" fmla="*/ 1524705 w 2643893"/>
              <a:gd name="connsiteY41" fmla="*/ 53858 h 2601796"/>
              <a:gd name="connsiteX42" fmla="*/ 1605668 w 2643893"/>
              <a:gd name="connsiteY42" fmla="*/ 39571 h 2601796"/>
              <a:gd name="connsiteX43" fmla="*/ 1705680 w 2643893"/>
              <a:gd name="connsiteY43" fmla="*/ 30046 h 2601796"/>
              <a:gd name="connsiteX44" fmla="*/ 1881893 w 2643893"/>
              <a:gd name="connsiteY44" fmla="*/ 20521 h 2601796"/>
              <a:gd name="connsiteX45" fmla="*/ 2329568 w 2643893"/>
              <a:gd name="connsiteY45" fmla="*/ 20521 h 2601796"/>
              <a:gd name="connsiteX46" fmla="*/ 2358143 w 2643893"/>
              <a:gd name="connsiteY46" fmla="*/ 30046 h 2601796"/>
              <a:gd name="connsiteX47" fmla="*/ 2386718 w 2643893"/>
              <a:gd name="connsiteY47" fmla="*/ 39571 h 2601796"/>
              <a:gd name="connsiteX48" fmla="*/ 2577218 w 2643893"/>
              <a:gd name="connsiteY48" fmla="*/ 44333 h 2601796"/>
              <a:gd name="connsiteX49" fmla="*/ 2615318 w 2643893"/>
              <a:gd name="connsiteY49" fmla="*/ 53858 h 2601796"/>
              <a:gd name="connsiteX50" fmla="*/ 2629605 w 2643893"/>
              <a:gd name="connsiteY50" fmla="*/ 63383 h 2601796"/>
              <a:gd name="connsiteX51" fmla="*/ 2643893 w 2643893"/>
              <a:gd name="connsiteY51" fmla="*/ 68146 h 2601796"/>
              <a:gd name="connsiteX52" fmla="*/ 2639130 w 2643893"/>
              <a:gd name="connsiteY52" fmla="*/ 2597033 h 2601796"/>
              <a:gd name="connsiteX53" fmla="*/ 705 w 2643893"/>
              <a:gd name="connsiteY53" fmla="*/ 2601796 h 2601796"/>
              <a:gd name="connsiteX54" fmla="*/ 705 w 2643893"/>
              <a:gd name="connsiteY54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401521 h 2601796"/>
              <a:gd name="connsiteX8" fmla="*/ 562680 w 2643893"/>
              <a:gd name="connsiteY8" fmla="*/ 382471 h 2601796"/>
              <a:gd name="connsiteX9" fmla="*/ 576968 w 2643893"/>
              <a:gd name="connsiteY9" fmla="*/ 377708 h 2601796"/>
              <a:gd name="connsiteX10" fmla="*/ 586493 w 2643893"/>
              <a:gd name="connsiteY10" fmla="*/ 363421 h 2601796"/>
              <a:gd name="connsiteX11" fmla="*/ 653168 w 2643893"/>
              <a:gd name="connsiteY11" fmla="*/ 339608 h 2601796"/>
              <a:gd name="connsiteX12" fmla="*/ 667455 w 2643893"/>
              <a:gd name="connsiteY12" fmla="*/ 330083 h 2601796"/>
              <a:gd name="connsiteX13" fmla="*/ 696030 w 2643893"/>
              <a:gd name="connsiteY13" fmla="*/ 306271 h 2601796"/>
              <a:gd name="connsiteX14" fmla="*/ 724605 w 2643893"/>
              <a:gd name="connsiteY14" fmla="*/ 296746 h 2601796"/>
              <a:gd name="connsiteX15" fmla="*/ 753180 w 2643893"/>
              <a:gd name="connsiteY15" fmla="*/ 282458 h 2601796"/>
              <a:gd name="connsiteX16" fmla="*/ 781755 w 2643893"/>
              <a:gd name="connsiteY16" fmla="*/ 268171 h 2601796"/>
              <a:gd name="connsiteX17" fmla="*/ 796043 w 2643893"/>
              <a:gd name="connsiteY17" fmla="*/ 258646 h 2601796"/>
              <a:gd name="connsiteX18" fmla="*/ 810330 w 2643893"/>
              <a:gd name="connsiteY18" fmla="*/ 253883 h 2601796"/>
              <a:gd name="connsiteX19" fmla="*/ 819855 w 2643893"/>
              <a:gd name="connsiteY19" fmla="*/ 239596 h 2601796"/>
              <a:gd name="connsiteX20" fmla="*/ 838905 w 2643893"/>
              <a:gd name="connsiteY20" fmla="*/ 234833 h 2601796"/>
              <a:gd name="connsiteX21" fmla="*/ 867480 w 2643893"/>
              <a:gd name="connsiteY21" fmla="*/ 225308 h 2601796"/>
              <a:gd name="connsiteX22" fmla="*/ 896055 w 2643893"/>
              <a:gd name="connsiteY22" fmla="*/ 215783 h 2601796"/>
              <a:gd name="connsiteX23" fmla="*/ 910343 w 2643893"/>
              <a:gd name="connsiteY23" fmla="*/ 206258 h 2601796"/>
              <a:gd name="connsiteX24" fmla="*/ 924630 w 2643893"/>
              <a:gd name="connsiteY24" fmla="*/ 201496 h 2601796"/>
              <a:gd name="connsiteX25" fmla="*/ 938918 w 2643893"/>
              <a:gd name="connsiteY25" fmla="*/ 191971 h 2601796"/>
              <a:gd name="connsiteX26" fmla="*/ 977018 w 2643893"/>
              <a:gd name="connsiteY26" fmla="*/ 182446 h 2601796"/>
              <a:gd name="connsiteX27" fmla="*/ 1010355 w 2643893"/>
              <a:gd name="connsiteY27" fmla="*/ 172921 h 2601796"/>
              <a:gd name="connsiteX28" fmla="*/ 1053218 w 2643893"/>
              <a:gd name="connsiteY28" fmla="*/ 168158 h 2601796"/>
              <a:gd name="connsiteX29" fmla="*/ 1067505 w 2643893"/>
              <a:gd name="connsiteY29" fmla="*/ 158633 h 2601796"/>
              <a:gd name="connsiteX30" fmla="*/ 1105605 w 2643893"/>
              <a:gd name="connsiteY30" fmla="*/ 149108 h 2601796"/>
              <a:gd name="connsiteX31" fmla="*/ 1134180 w 2643893"/>
              <a:gd name="connsiteY31" fmla="*/ 134821 h 2601796"/>
              <a:gd name="connsiteX32" fmla="*/ 1148468 w 2643893"/>
              <a:gd name="connsiteY32" fmla="*/ 125296 h 2601796"/>
              <a:gd name="connsiteX33" fmla="*/ 1196093 w 2643893"/>
              <a:gd name="connsiteY33" fmla="*/ 111008 h 2601796"/>
              <a:gd name="connsiteX34" fmla="*/ 1224668 w 2643893"/>
              <a:gd name="connsiteY34" fmla="*/ 106246 h 2601796"/>
              <a:gd name="connsiteX35" fmla="*/ 1253243 w 2643893"/>
              <a:gd name="connsiteY35" fmla="*/ 96721 h 2601796"/>
              <a:gd name="connsiteX36" fmla="*/ 1329443 w 2643893"/>
              <a:gd name="connsiteY36" fmla="*/ 87196 h 2601796"/>
              <a:gd name="connsiteX37" fmla="*/ 1372305 w 2643893"/>
              <a:gd name="connsiteY37" fmla="*/ 77671 h 2601796"/>
              <a:gd name="connsiteX38" fmla="*/ 1415168 w 2643893"/>
              <a:gd name="connsiteY38" fmla="*/ 72908 h 2601796"/>
              <a:gd name="connsiteX39" fmla="*/ 1453268 w 2643893"/>
              <a:gd name="connsiteY39" fmla="*/ 63383 h 2601796"/>
              <a:gd name="connsiteX40" fmla="*/ 1524705 w 2643893"/>
              <a:gd name="connsiteY40" fmla="*/ 53858 h 2601796"/>
              <a:gd name="connsiteX41" fmla="*/ 1605668 w 2643893"/>
              <a:gd name="connsiteY41" fmla="*/ 39571 h 2601796"/>
              <a:gd name="connsiteX42" fmla="*/ 1705680 w 2643893"/>
              <a:gd name="connsiteY42" fmla="*/ 30046 h 2601796"/>
              <a:gd name="connsiteX43" fmla="*/ 1881893 w 2643893"/>
              <a:gd name="connsiteY43" fmla="*/ 20521 h 2601796"/>
              <a:gd name="connsiteX44" fmla="*/ 2329568 w 2643893"/>
              <a:gd name="connsiteY44" fmla="*/ 20521 h 2601796"/>
              <a:gd name="connsiteX45" fmla="*/ 2358143 w 2643893"/>
              <a:gd name="connsiteY45" fmla="*/ 30046 h 2601796"/>
              <a:gd name="connsiteX46" fmla="*/ 2386718 w 2643893"/>
              <a:gd name="connsiteY46" fmla="*/ 39571 h 2601796"/>
              <a:gd name="connsiteX47" fmla="*/ 2577218 w 2643893"/>
              <a:gd name="connsiteY47" fmla="*/ 44333 h 2601796"/>
              <a:gd name="connsiteX48" fmla="*/ 2615318 w 2643893"/>
              <a:gd name="connsiteY48" fmla="*/ 53858 h 2601796"/>
              <a:gd name="connsiteX49" fmla="*/ 2629605 w 2643893"/>
              <a:gd name="connsiteY49" fmla="*/ 63383 h 2601796"/>
              <a:gd name="connsiteX50" fmla="*/ 2643893 w 2643893"/>
              <a:gd name="connsiteY50" fmla="*/ 68146 h 2601796"/>
              <a:gd name="connsiteX51" fmla="*/ 2639130 w 2643893"/>
              <a:gd name="connsiteY51" fmla="*/ 2597033 h 2601796"/>
              <a:gd name="connsiteX52" fmla="*/ 705 w 2643893"/>
              <a:gd name="connsiteY52" fmla="*/ 2601796 h 2601796"/>
              <a:gd name="connsiteX53" fmla="*/ 705 w 2643893"/>
              <a:gd name="connsiteY53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62680 w 2643893"/>
              <a:gd name="connsiteY7" fmla="*/ 382471 h 2601796"/>
              <a:gd name="connsiteX8" fmla="*/ 576968 w 2643893"/>
              <a:gd name="connsiteY8" fmla="*/ 377708 h 2601796"/>
              <a:gd name="connsiteX9" fmla="*/ 586493 w 2643893"/>
              <a:gd name="connsiteY9" fmla="*/ 363421 h 2601796"/>
              <a:gd name="connsiteX10" fmla="*/ 653168 w 2643893"/>
              <a:gd name="connsiteY10" fmla="*/ 339608 h 2601796"/>
              <a:gd name="connsiteX11" fmla="*/ 667455 w 2643893"/>
              <a:gd name="connsiteY11" fmla="*/ 330083 h 2601796"/>
              <a:gd name="connsiteX12" fmla="*/ 696030 w 2643893"/>
              <a:gd name="connsiteY12" fmla="*/ 306271 h 2601796"/>
              <a:gd name="connsiteX13" fmla="*/ 724605 w 2643893"/>
              <a:gd name="connsiteY13" fmla="*/ 296746 h 2601796"/>
              <a:gd name="connsiteX14" fmla="*/ 753180 w 2643893"/>
              <a:gd name="connsiteY14" fmla="*/ 282458 h 2601796"/>
              <a:gd name="connsiteX15" fmla="*/ 781755 w 2643893"/>
              <a:gd name="connsiteY15" fmla="*/ 268171 h 2601796"/>
              <a:gd name="connsiteX16" fmla="*/ 796043 w 2643893"/>
              <a:gd name="connsiteY16" fmla="*/ 258646 h 2601796"/>
              <a:gd name="connsiteX17" fmla="*/ 810330 w 2643893"/>
              <a:gd name="connsiteY17" fmla="*/ 253883 h 2601796"/>
              <a:gd name="connsiteX18" fmla="*/ 819855 w 2643893"/>
              <a:gd name="connsiteY18" fmla="*/ 239596 h 2601796"/>
              <a:gd name="connsiteX19" fmla="*/ 838905 w 2643893"/>
              <a:gd name="connsiteY19" fmla="*/ 234833 h 2601796"/>
              <a:gd name="connsiteX20" fmla="*/ 867480 w 2643893"/>
              <a:gd name="connsiteY20" fmla="*/ 225308 h 2601796"/>
              <a:gd name="connsiteX21" fmla="*/ 896055 w 2643893"/>
              <a:gd name="connsiteY21" fmla="*/ 215783 h 2601796"/>
              <a:gd name="connsiteX22" fmla="*/ 910343 w 2643893"/>
              <a:gd name="connsiteY22" fmla="*/ 206258 h 2601796"/>
              <a:gd name="connsiteX23" fmla="*/ 924630 w 2643893"/>
              <a:gd name="connsiteY23" fmla="*/ 201496 h 2601796"/>
              <a:gd name="connsiteX24" fmla="*/ 938918 w 2643893"/>
              <a:gd name="connsiteY24" fmla="*/ 191971 h 2601796"/>
              <a:gd name="connsiteX25" fmla="*/ 977018 w 2643893"/>
              <a:gd name="connsiteY25" fmla="*/ 182446 h 2601796"/>
              <a:gd name="connsiteX26" fmla="*/ 1010355 w 2643893"/>
              <a:gd name="connsiteY26" fmla="*/ 172921 h 2601796"/>
              <a:gd name="connsiteX27" fmla="*/ 1053218 w 2643893"/>
              <a:gd name="connsiteY27" fmla="*/ 168158 h 2601796"/>
              <a:gd name="connsiteX28" fmla="*/ 1067505 w 2643893"/>
              <a:gd name="connsiteY28" fmla="*/ 158633 h 2601796"/>
              <a:gd name="connsiteX29" fmla="*/ 1105605 w 2643893"/>
              <a:gd name="connsiteY29" fmla="*/ 149108 h 2601796"/>
              <a:gd name="connsiteX30" fmla="*/ 1134180 w 2643893"/>
              <a:gd name="connsiteY30" fmla="*/ 134821 h 2601796"/>
              <a:gd name="connsiteX31" fmla="*/ 1148468 w 2643893"/>
              <a:gd name="connsiteY31" fmla="*/ 125296 h 2601796"/>
              <a:gd name="connsiteX32" fmla="*/ 1196093 w 2643893"/>
              <a:gd name="connsiteY32" fmla="*/ 111008 h 2601796"/>
              <a:gd name="connsiteX33" fmla="*/ 1224668 w 2643893"/>
              <a:gd name="connsiteY33" fmla="*/ 106246 h 2601796"/>
              <a:gd name="connsiteX34" fmla="*/ 1253243 w 2643893"/>
              <a:gd name="connsiteY34" fmla="*/ 96721 h 2601796"/>
              <a:gd name="connsiteX35" fmla="*/ 1329443 w 2643893"/>
              <a:gd name="connsiteY35" fmla="*/ 87196 h 2601796"/>
              <a:gd name="connsiteX36" fmla="*/ 1372305 w 2643893"/>
              <a:gd name="connsiteY36" fmla="*/ 77671 h 2601796"/>
              <a:gd name="connsiteX37" fmla="*/ 1415168 w 2643893"/>
              <a:gd name="connsiteY37" fmla="*/ 72908 h 2601796"/>
              <a:gd name="connsiteX38" fmla="*/ 1453268 w 2643893"/>
              <a:gd name="connsiteY38" fmla="*/ 63383 h 2601796"/>
              <a:gd name="connsiteX39" fmla="*/ 1524705 w 2643893"/>
              <a:gd name="connsiteY39" fmla="*/ 53858 h 2601796"/>
              <a:gd name="connsiteX40" fmla="*/ 1605668 w 2643893"/>
              <a:gd name="connsiteY40" fmla="*/ 39571 h 2601796"/>
              <a:gd name="connsiteX41" fmla="*/ 1705680 w 2643893"/>
              <a:gd name="connsiteY41" fmla="*/ 30046 h 2601796"/>
              <a:gd name="connsiteX42" fmla="*/ 1881893 w 2643893"/>
              <a:gd name="connsiteY42" fmla="*/ 20521 h 2601796"/>
              <a:gd name="connsiteX43" fmla="*/ 2329568 w 2643893"/>
              <a:gd name="connsiteY43" fmla="*/ 20521 h 2601796"/>
              <a:gd name="connsiteX44" fmla="*/ 2358143 w 2643893"/>
              <a:gd name="connsiteY44" fmla="*/ 30046 h 2601796"/>
              <a:gd name="connsiteX45" fmla="*/ 2386718 w 2643893"/>
              <a:gd name="connsiteY45" fmla="*/ 39571 h 2601796"/>
              <a:gd name="connsiteX46" fmla="*/ 2577218 w 2643893"/>
              <a:gd name="connsiteY46" fmla="*/ 44333 h 2601796"/>
              <a:gd name="connsiteX47" fmla="*/ 2615318 w 2643893"/>
              <a:gd name="connsiteY47" fmla="*/ 53858 h 2601796"/>
              <a:gd name="connsiteX48" fmla="*/ 2629605 w 2643893"/>
              <a:gd name="connsiteY48" fmla="*/ 63383 h 2601796"/>
              <a:gd name="connsiteX49" fmla="*/ 2643893 w 2643893"/>
              <a:gd name="connsiteY49" fmla="*/ 68146 h 2601796"/>
              <a:gd name="connsiteX50" fmla="*/ 2639130 w 2643893"/>
              <a:gd name="connsiteY50" fmla="*/ 2597033 h 2601796"/>
              <a:gd name="connsiteX51" fmla="*/ 705 w 2643893"/>
              <a:gd name="connsiteY51" fmla="*/ 2601796 h 2601796"/>
              <a:gd name="connsiteX52" fmla="*/ 705 w 2643893"/>
              <a:gd name="connsiteY52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62680 w 2643893"/>
              <a:gd name="connsiteY7" fmla="*/ 382471 h 2601796"/>
              <a:gd name="connsiteX8" fmla="*/ 576968 w 2643893"/>
              <a:gd name="connsiteY8" fmla="*/ 377708 h 2601796"/>
              <a:gd name="connsiteX9" fmla="*/ 653168 w 2643893"/>
              <a:gd name="connsiteY9" fmla="*/ 339608 h 2601796"/>
              <a:gd name="connsiteX10" fmla="*/ 667455 w 2643893"/>
              <a:gd name="connsiteY10" fmla="*/ 330083 h 2601796"/>
              <a:gd name="connsiteX11" fmla="*/ 696030 w 2643893"/>
              <a:gd name="connsiteY11" fmla="*/ 306271 h 2601796"/>
              <a:gd name="connsiteX12" fmla="*/ 724605 w 2643893"/>
              <a:gd name="connsiteY12" fmla="*/ 296746 h 2601796"/>
              <a:gd name="connsiteX13" fmla="*/ 753180 w 2643893"/>
              <a:gd name="connsiteY13" fmla="*/ 282458 h 2601796"/>
              <a:gd name="connsiteX14" fmla="*/ 781755 w 2643893"/>
              <a:gd name="connsiteY14" fmla="*/ 268171 h 2601796"/>
              <a:gd name="connsiteX15" fmla="*/ 796043 w 2643893"/>
              <a:gd name="connsiteY15" fmla="*/ 258646 h 2601796"/>
              <a:gd name="connsiteX16" fmla="*/ 810330 w 2643893"/>
              <a:gd name="connsiteY16" fmla="*/ 253883 h 2601796"/>
              <a:gd name="connsiteX17" fmla="*/ 819855 w 2643893"/>
              <a:gd name="connsiteY17" fmla="*/ 239596 h 2601796"/>
              <a:gd name="connsiteX18" fmla="*/ 838905 w 2643893"/>
              <a:gd name="connsiteY18" fmla="*/ 234833 h 2601796"/>
              <a:gd name="connsiteX19" fmla="*/ 867480 w 2643893"/>
              <a:gd name="connsiteY19" fmla="*/ 225308 h 2601796"/>
              <a:gd name="connsiteX20" fmla="*/ 896055 w 2643893"/>
              <a:gd name="connsiteY20" fmla="*/ 215783 h 2601796"/>
              <a:gd name="connsiteX21" fmla="*/ 910343 w 2643893"/>
              <a:gd name="connsiteY21" fmla="*/ 206258 h 2601796"/>
              <a:gd name="connsiteX22" fmla="*/ 924630 w 2643893"/>
              <a:gd name="connsiteY22" fmla="*/ 201496 h 2601796"/>
              <a:gd name="connsiteX23" fmla="*/ 938918 w 2643893"/>
              <a:gd name="connsiteY23" fmla="*/ 191971 h 2601796"/>
              <a:gd name="connsiteX24" fmla="*/ 977018 w 2643893"/>
              <a:gd name="connsiteY24" fmla="*/ 182446 h 2601796"/>
              <a:gd name="connsiteX25" fmla="*/ 1010355 w 2643893"/>
              <a:gd name="connsiteY25" fmla="*/ 172921 h 2601796"/>
              <a:gd name="connsiteX26" fmla="*/ 1053218 w 2643893"/>
              <a:gd name="connsiteY26" fmla="*/ 168158 h 2601796"/>
              <a:gd name="connsiteX27" fmla="*/ 1067505 w 2643893"/>
              <a:gd name="connsiteY27" fmla="*/ 158633 h 2601796"/>
              <a:gd name="connsiteX28" fmla="*/ 1105605 w 2643893"/>
              <a:gd name="connsiteY28" fmla="*/ 149108 h 2601796"/>
              <a:gd name="connsiteX29" fmla="*/ 1134180 w 2643893"/>
              <a:gd name="connsiteY29" fmla="*/ 134821 h 2601796"/>
              <a:gd name="connsiteX30" fmla="*/ 1148468 w 2643893"/>
              <a:gd name="connsiteY30" fmla="*/ 125296 h 2601796"/>
              <a:gd name="connsiteX31" fmla="*/ 1196093 w 2643893"/>
              <a:gd name="connsiteY31" fmla="*/ 111008 h 2601796"/>
              <a:gd name="connsiteX32" fmla="*/ 1224668 w 2643893"/>
              <a:gd name="connsiteY32" fmla="*/ 106246 h 2601796"/>
              <a:gd name="connsiteX33" fmla="*/ 1253243 w 2643893"/>
              <a:gd name="connsiteY33" fmla="*/ 96721 h 2601796"/>
              <a:gd name="connsiteX34" fmla="*/ 1329443 w 2643893"/>
              <a:gd name="connsiteY34" fmla="*/ 87196 h 2601796"/>
              <a:gd name="connsiteX35" fmla="*/ 1372305 w 2643893"/>
              <a:gd name="connsiteY35" fmla="*/ 77671 h 2601796"/>
              <a:gd name="connsiteX36" fmla="*/ 1415168 w 2643893"/>
              <a:gd name="connsiteY36" fmla="*/ 72908 h 2601796"/>
              <a:gd name="connsiteX37" fmla="*/ 1453268 w 2643893"/>
              <a:gd name="connsiteY37" fmla="*/ 63383 h 2601796"/>
              <a:gd name="connsiteX38" fmla="*/ 1524705 w 2643893"/>
              <a:gd name="connsiteY38" fmla="*/ 53858 h 2601796"/>
              <a:gd name="connsiteX39" fmla="*/ 1605668 w 2643893"/>
              <a:gd name="connsiteY39" fmla="*/ 39571 h 2601796"/>
              <a:gd name="connsiteX40" fmla="*/ 1705680 w 2643893"/>
              <a:gd name="connsiteY40" fmla="*/ 30046 h 2601796"/>
              <a:gd name="connsiteX41" fmla="*/ 1881893 w 2643893"/>
              <a:gd name="connsiteY41" fmla="*/ 20521 h 2601796"/>
              <a:gd name="connsiteX42" fmla="*/ 2329568 w 2643893"/>
              <a:gd name="connsiteY42" fmla="*/ 20521 h 2601796"/>
              <a:gd name="connsiteX43" fmla="*/ 2358143 w 2643893"/>
              <a:gd name="connsiteY43" fmla="*/ 30046 h 2601796"/>
              <a:gd name="connsiteX44" fmla="*/ 2386718 w 2643893"/>
              <a:gd name="connsiteY44" fmla="*/ 39571 h 2601796"/>
              <a:gd name="connsiteX45" fmla="*/ 2577218 w 2643893"/>
              <a:gd name="connsiteY45" fmla="*/ 44333 h 2601796"/>
              <a:gd name="connsiteX46" fmla="*/ 2615318 w 2643893"/>
              <a:gd name="connsiteY46" fmla="*/ 53858 h 2601796"/>
              <a:gd name="connsiteX47" fmla="*/ 2629605 w 2643893"/>
              <a:gd name="connsiteY47" fmla="*/ 63383 h 2601796"/>
              <a:gd name="connsiteX48" fmla="*/ 2643893 w 2643893"/>
              <a:gd name="connsiteY48" fmla="*/ 68146 h 2601796"/>
              <a:gd name="connsiteX49" fmla="*/ 2639130 w 2643893"/>
              <a:gd name="connsiteY49" fmla="*/ 2597033 h 2601796"/>
              <a:gd name="connsiteX50" fmla="*/ 705 w 2643893"/>
              <a:gd name="connsiteY50" fmla="*/ 2601796 h 2601796"/>
              <a:gd name="connsiteX51" fmla="*/ 705 w 2643893"/>
              <a:gd name="connsiteY51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62680 w 2643893"/>
              <a:gd name="connsiteY7" fmla="*/ 382471 h 2601796"/>
              <a:gd name="connsiteX8" fmla="*/ 576968 w 2643893"/>
              <a:gd name="connsiteY8" fmla="*/ 377708 h 2601796"/>
              <a:gd name="connsiteX9" fmla="*/ 653168 w 2643893"/>
              <a:gd name="connsiteY9" fmla="*/ 339608 h 2601796"/>
              <a:gd name="connsiteX10" fmla="*/ 667455 w 2643893"/>
              <a:gd name="connsiteY10" fmla="*/ 330083 h 2601796"/>
              <a:gd name="connsiteX11" fmla="*/ 696030 w 2643893"/>
              <a:gd name="connsiteY11" fmla="*/ 306271 h 2601796"/>
              <a:gd name="connsiteX12" fmla="*/ 753180 w 2643893"/>
              <a:gd name="connsiteY12" fmla="*/ 282458 h 2601796"/>
              <a:gd name="connsiteX13" fmla="*/ 781755 w 2643893"/>
              <a:gd name="connsiteY13" fmla="*/ 268171 h 2601796"/>
              <a:gd name="connsiteX14" fmla="*/ 796043 w 2643893"/>
              <a:gd name="connsiteY14" fmla="*/ 258646 h 2601796"/>
              <a:gd name="connsiteX15" fmla="*/ 810330 w 2643893"/>
              <a:gd name="connsiteY15" fmla="*/ 253883 h 2601796"/>
              <a:gd name="connsiteX16" fmla="*/ 819855 w 2643893"/>
              <a:gd name="connsiteY16" fmla="*/ 239596 h 2601796"/>
              <a:gd name="connsiteX17" fmla="*/ 838905 w 2643893"/>
              <a:gd name="connsiteY17" fmla="*/ 234833 h 2601796"/>
              <a:gd name="connsiteX18" fmla="*/ 867480 w 2643893"/>
              <a:gd name="connsiteY18" fmla="*/ 225308 h 2601796"/>
              <a:gd name="connsiteX19" fmla="*/ 896055 w 2643893"/>
              <a:gd name="connsiteY19" fmla="*/ 215783 h 2601796"/>
              <a:gd name="connsiteX20" fmla="*/ 910343 w 2643893"/>
              <a:gd name="connsiteY20" fmla="*/ 206258 h 2601796"/>
              <a:gd name="connsiteX21" fmla="*/ 924630 w 2643893"/>
              <a:gd name="connsiteY21" fmla="*/ 201496 h 2601796"/>
              <a:gd name="connsiteX22" fmla="*/ 938918 w 2643893"/>
              <a:gd name="connsiteY22" fmla="*/ 191971 h 2601796"/>
              <a:gd name="connsiteX23" fmla="*/ 977018 w 2643893"/>
              <a:gd name="connsiteY23" fmla="*/ 182446 h 2601796"/>
              <a:gd name="connsiteX24" fmla="*/ 1010355 w 2643893"/>
              <a:gd name="connsiteY24" fmla="*/ 172921 h 2601796"/>
              <a:gd name="connsiteX25" fmla="*/ 1053218 w 2643893"/>
              <a:gd name="connsiteY25" fmla="*/ 168158 h 2601796"/>
              <a:gd name="connsiteX26" fmla="*/ 1067505 w 2643893"/>
              <a:gd name="connsiteY26" fmla="*/ 158633 h 2601796"/>
              <a:gd name="connsiteX27" fmla="*/ 1105605 w 2643893"/>
              <a:gd name="connsiteY27" fmla="*/ 149108 h 2601796"/>
              <a:gd name="connsiteX28" fmla="*/ 1134180 w 2643893"/>
              <a:gd name="connsiteY28" fmla="*/ 134821 h 2601796"/>
              <a:gd name="connsiteX29" fmla="*/ 1148468 w 2643893"/>
              <a:gd name="connsiteY29" fmla="*/ 125296 h 2601796"/>
              <a:gd name="connsiteX30" fmla="*/ 1196093 w 2643893"/>
              <a:gd name="connsiteY30" fmla="*/ 111008 h 2601796"/>
              <a:gd name="connsiteX31" fmla="*/ 1224668 w 2643893"/>
              <a:gd name="connsiteY31" fmla="*/ 106246 h 2601796"/>
              <a:gd name="connsiteX32" fmla="*/ 1253243 w 2643893"/>
              <a:gd name="connsiteY32" fmla="*/ 96721 h 2601796"/>
              <a:gd name="connsiteX33" fmla="*/ 1329443 w 2643893"/>
              <a:gd name="connsiteY33" fmla="*/ 87196 h 2601796"/>
              <a:gd name="connsiteX34" fmla="*/ 1372305 w 2643893"/>
              <a:gd name="connsiteY34" fmla="*/ 77671 h 2601796"/>
              <a:gd name="connsiteX35" fmla="*/ 1415168 w 2643893"/>
              <a:gd name="connsiteY35" fmla="*/ 72908 h 2601796"/>
              <a:gd name="connsiteX36" fmla="*/ 1453268 w 2643893"/>
              <a:gd name="connsiteY36" fmla="*/ 63383 h 2601796"/>
              <a:gd name="connsiteX37" fmla="*/ 1524705 w 2643893"/>
              <a:gd name="connsiteY37" fmla="*/ 53858 h 2601796"/>
              <a:gd name="connsiteX38" fmla="*/ 1605668 w 2643893"/>
              <a:gd name="connsiteY38" fmla="*/ 39571 h 2601796"/>
              <a:gd name="connsiteX39" fmla="*/ 1705680 w 2643893"/>
              <a:gd name="connsiteY39" fmla="*/ 30046 h 2601796"/>
              <a:gd name="connsiteX40" fmla="*/ 1881893 w 2643893"/>
              <a:gd name="connsiteY40" fmla="*/ 20521 h 2601796"/>
              <a:gd name="connsiteX41" fmla="*/ 2329568 w 2643893"/>
              <a:gd name="connsiteY41" fmla="*/ 20521 h 2601796"/>
              <a:gd name="connsiteX42" fmla="*/ 2358143 w 2643893"/>
              <a:gd name="connsiteY42" fmla="*/ 30046 h 2601796"/>
              <a:gd name="connsiteX43" fmla="*/ 2386718 w 2643893"/>
              <a:gd name="connsiteY43" fmla="*/ 39571 h 2601796"/>
              <a:gd name="connsiteX44" fmla="*/ 2577218 w 2643893"/>
              <a:gd name="connsiteY44" fmla="*/ 44333 h 2601796"/>
              <a:gd name="connsiteX45" fmla="*/ 2615318 w 2643893"/>
              <a:gd name="connsiteY45" fmla="*/ 53858 h 2601796"/>
              <a:gd name="connsiteX46" fmla="*/ 2629605 w 2643893"/>
              <a:gd name="connsiteY46" fmla="*/ 63383 h 2601796"/>
              <a:gd name="connsiteX47" fmla="*/ 2643893 w 2643893"/>
              <a:gd name="connsiteY47" fmla="*/ 68146 h 2601796"/>
              <a:gd name="connsiteX48" fmla="*/ 2639130 w 2643893"/>
              <a:gd name="connsiteY48" fmla="*/ 2597033 h 2601796"/>
              <a:gd name="connsiteX49" fmla="*/ 705 w 2643893"/>
              <a:gd name="connsiteY49" fmla="*/ 2601796 h 2601796"/>
              <a:gd name="connsiteX50" fmla="*/ 705 w 2643893"/>
              <a:gd name="connsiteY50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62680 w 2643893"/>
              <a:gd name="connsiteY7" fmla="*/ 382471 h 2601796"/>
              <a:gd name="connsiteX8" fmla="*/ 567443 w 2643893"/>
              <a:gd name="connsiteY8" fmla="*/ 349133 h 2601796"/>
              <a:gd name="connsiteX9" fmla="*/ 653168 w 2643893"/>
              <a:gd name="connsiteY9" fmla="*/ 339608 h 2601796"/>
              <a:gd name="connsiteX10" fmla="*/ 667455 w 2643893"/>
              <a:gd name="connsiteY10" fmla="*/ 330083 h 2601796"/>
              <a:gd name="connsiteX11" fmla="*/ 696030 w 2643893"/>
              <a:gd name="connsiteY11" fmla="*/ 306271 h 2601796"/>
              <a:gd name="connsiteX12" fmla="*/ 753180 w 2643893"/>
              <a:gd name="connsiteY12" fmla="*/ 282458 h 2601796"/>
              <a:gd name="connsiteX13" fmla="*/ 781755 w 2643893"/>
              <a:gd name="connsiteY13" fmla="*/ 268171 h 2601796"/>
              <a:gd name="connsiteX14" fmla="*/ 796043 w 2643893"/>
              <a:gd name="connsiteY14" fmla="*/ 258646 h 2601796"/>
              <a:gd name="connsiteX15" fmla="*/ 810330 w 2643893"/>
              <a:gd name="connsiteY15" fmla="*/ 253883 h 2601796"/>
              <a:gd name="connsiteX16" fmla="*/ 819855 w 2643893"/>
              <a:gd name="connsiteY16" fmla="*/ 239596 h 2601796"/>
              <a:gd name="connsiteX17" fmla="*/ 838905 w 2643893"/>
              <a:gd name="connsiteY17" fmla="*/ 234833 h 2601796"/>
              <a:gd name="connsiteX18" fmla="*/ 867480 w 2643893"/>
              <a:gd name="connsiteY18" fmla="*/ 225308 h 2601796"/>
              <a:gd name="connsiteX19" fmla="*/ 896055 w 2643893"/>
              <a:gd name="connsiteY19" fmla="*/ 215783 h 2601796"/>
              <a:gd name="connsiteX20" fmla="*/ 910343 w 2643893"/>
              <a:gd name="connsiteY20" fmla="*/ 206258 h 2601796"/>
              <a:gd name="connsiteX21" fmla="*/ 924630 w 2643893"/>
              <a:gd name="connsiteY21" fmla="*/ 201496 h 2601796"/>
              <a:gd name="connsiteX22" fmla="*/ 938918 w 2643893"/>
              <a:gd name="connsiteY22" fmla="*/ 191971 h 2601796"/>
              <a:gd name="connsiteX23" fmla="*/ 977018 w 2643893"/>
              <a:gd name="connsiteY23" fmla="*/ 182446 h 2601796"/>
              <a:gd name="connsiteX24" fmla="*/ 1010355 w 2643893"/>
              <a:gd name="connsiteY24" fmla="*/ 172921 h 2601796"/>
              <a:gd name="connsiteX25" fmla="*/ 1053218 w 2643893"/>
              <a:gd name="connsiteY25" fmla="*/ 168158 h 2601796"/>
              <a:gd name="connsiteX26" fmla="*/ 1067505 w 2643893"/>
              <a:gd name="connsiteY26" fmla="*/ 158633 h 2601796"/>
              <a:gd name="connsiteX27" fmla="*/ 1105605 w 2643893"/>
              <a:gd name="connsiteY27" fmla="*/ 149108 h 2601796"/>
              <a:gd name="connsiteX28" fmla="*/ 1134180 w 2643893"/>
              <a:gd name="connsiteY28" fmla="*/ 134821 h 2601796"/>
              <a:gd name="connsiteX29" fmla="*/ 1148468 w 2643893"/>
              <a:gd name="connsiteY29" fmla="*/ 125296 h 2601796"/>
              <a:gd name="connsiteX30" fmla="*/ 1196093 w 2643893"/>
              <a:gd name="connsiteY30" fmla="*/ 111008 h 2601796"/>
              <a:gd name="connsiteX31" fmla="*/ 1224668 w 2643893"/>
              <a:gd name="connsiteY31" fmla="*/ 106246 h 2601796"/>
              <a:gd name="connsiteX32" fmla="*/ 1253243 w 2643893"/>
              <a:gd name="connsiteY32" fmla="*/ 96721 h 2601796"/>
              <a:gd name="connsiteX33" fmla="*/ 1329443 w 2643893"/>
              <a:gd name="connsiteY33" fmla="*/ 87196 h 2601796"/>
              <a:gd name="connsiteX34" fmla="*/ 1372305 w 2643893"/>
              <a:gd name="connsiteY34" fmla="*/ 77671 h 2601796"/>
              <a:gd name="connsiteX35" fmla="*/ 1415168 w 2643893"/>
              <a:gd name="connsiteY35" fmla="*/ 72908 h 2601796"/>
              <a:gd name="connsiteX36" fmla="*/ 1453268 w 2643893"/>
              <a:gd name="connsiteY36" fmla="*/ 63383 h 2601796"/>
              <a:gd name="connsiteX37" fmla="*/ 1524705 w 2643893"/>
              <a:gd name="connsiteY37" fmla="*/ 53858 h 2601796"/>
              <a:gd name="connsiteX38" fmla="*/ 1605668 w 2643893"/>
              <a:gd name="connsiteY38" fmla="*/ 39571 h 2601796"/>
              <a:gd name="connsiteX39" fmla="*/ 1705680 w 2643893"/>
              <a:gd name="connsiteY39" fmla="*/ 30046 h 2601796"/>
              <a:gd name="connsiteX40" fmla="*/ 1881893 w 2643893"/>
              <a:gd name="connsiteY40" fmla="*/ 20521 h 2601796"/>
              <a:gd name="connsiteX41" fmla="*/ 2329568 w 2643893"/>
              <a:gd name="connsiteY41" fmla="*/ 20521 h 2601796"/>
              <a:gd name="connsiteX42" fmla="*/ 2358143 w 2643893"/>
              <a:gd name="connsiteY42" fmla="*/ 30046 h 2601796"/>
              <a:gd name="connsiteX43" fmla="*/ 2386718 w 2643893"/>
              <a:gd name="connsiteY43" fmla="*/ 39571 h 2601796"/>
              <a:gd name="connsiteX44" fmla="*/ 2577218 w 2643893"/>
              <a:gd name="connsiteY44" fmla="*/ 44333 h 2601796"/>
              <a:gd name="connsiteX45" fmla="*/ 2615318 w 2643893"/>
              <a:gd name="connsiteY45" fmla="*/ 53858 h 2601796"/>
              <a:gd name="connsiteX46" fmla="*/ 2629605 w 2643893"/>
              <a:gd name="connsiteY46" fmla="*/ 63383 h 2601796"/>
              <a:gd name="connsiteX47" fmla="*/ 2643893 w 2643893"/>
              <a:gd name="connsiteY47" fmla="*/ 68146 h 2601796"/>
              <a:gd name="connsiteX48" fmla="*/ 2639130 w 2643893"/>
              <a:gd name="connsiteY48" fmla="*/ 2597033 h 2601796"/>
              <a:gd name="connsiteX49" fmla="*/ 705 w 2643893"/>
              <a:gd name="connsiteY49" fmla="*/ 2601796 h 2601796"/>
              <a:gd name="connsiteX50" fmla="*/ 705 w 2643893"/>
              <a:gd name="connsiteY50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05530 w 2643893"/>
              <a:gd name="connsiteY7" fmla="*/ 376669 h 2601796"/>
              <a:gd name="connsiteX8" fmla="*/ 562680 w 2643893"/>
              <a:gd name="connsiteY8" fmla="*/ 382471 h 2601796"/>
              <a:gd name="connsiteX9" fmla="*/ 567443 w 2643893"/>
              <a:gd name="connsiteY9" fmla="*/ 349133 h 2601796"/>
              <a:gd name="connsiteX10" fmla="*/ 653168 w 2643893"/>
              <a:gd name="connsiteY10" fmla="*/ 339608 h 2601796"/>
              <a:gd name="connsiteX11" fmla="*/ 667455 w 2643893"/>
              <a:gd name="connsiteY11" fmla="*/ 330083 h 2601796"/>
              <a:gd name="connsiteX12" fmla="*/ 696030 w 2643893"/>
              <a:gd name="connsiteY12" fmla="*/ 306271 h 2601796"/>
              <a:gd name="connsiteX13" fmla="*/ 753180 w 2643893"/>
              <a:gd name="connsiteY13" fmla="*/ 282458 h 2601796"/>
              <a:gd name="connsiteX14" fmla="*/ 781755 w 2643893"/>
              <a:gd name="connsiteY14" fmla="*/ 268171 h 2601796"/>
              <a:gd name="connsiteX15" fmla="*/ 796043 w 2643893"/>
              <a:gd name="connsiteY15" fmla="*/ 258646 h 2601796"/>
              <a:gd name="connsiteX16" fmla="*/ 810330 w 2643893"/>
              <a:gd name="connsiteY16" fmla="*/ 253883 h 2601796"/>
              <a:gd name="connsiteX17" fmla="*/ 819855 w 2643893"/>
              <a:gd name="connsiteY17" fmla="*/ 239596 h 2601796"/>
              <a:gd name="connsiteX18" fmla="*/ 838905 w 2643893"/>
              <a:gd name="connsiteY18" fmla="*/ 234833 h 2601796"/>
              <a:gd name="connsiteX19" fmla="*/ 867480 w 2643893"/>
              <a:gd name="connsiteY19" fmla="*/ 225308 h 2601796"/>
              <a:gd name="connsiteX20" fmla="*/ 896055 w 2643893"/>
              <a:gd name="connsiteY20" fmla="*/ 215783 h 2601796"/>
              <a:gd name="connsiteX21" fmla="*/ 910343 w 2643893"/>
              <a:gd name="connsiteY21" fmla="*/ 206258 h 2601796"/>
              <a:gd name="connsiteX22" fmla="*/ 924630 w 2643893"/>
              <a:gd name="connsiteY22" fmla="*/ 201496 h 2601796"/>
              <a:gd name="connsiteX23" fmla="*/ 938918 w 2643893"/>
              <a:gd name="connsiteY23" fmla="*/ 191971 h 2601796"/>
              <a:gd name="connsiteX24" fmla="*/ 977018 w 2643893"/>
              <a:gd name="connsiteY24" fmla="*/ 182446 h 2601796"/>
              <a:gd name="connsiteX25" fmla="*/ 1010355 w 2643893"/>
              <a:gd name="connsiteY25" fmla="*/ 172921 h 2601796"/>
              <a:gd name="connsiteX26" fmla="*/ 1053218 w 2643893"/>
              <a:gd name="connsiteY26" fmla="*/ 168158 h 2601796"/>
              <a:gd name="connsiteX27" fmla="*/ 1067505 w 2643893"/>
              <a:gd name="connsiteY27" fmla="*/ 158633 h 2601796"/>
              <a:gd name="connsiteX28" fmla="*/ 1105605 w 2643893"/>
              <a:gd name="connsiteY28" fmla="*/ 149108 h 2601796"/>
              <a:gd name="connsiteX29" fmla="*/ 1134180 w 2643893"/>
              <a:gd name="connsiteY29" fmla="*/ 134821 h 2601796"/>
              <a:gd name="connsiteX30" fmla="*/ 1148468 w 2643893"/>
              <a:gd name="connsiteY30" fmla="*/ 125296 h 2601796"/>
              <a:gd name="connsiteX31" fmla="*/ 1196093 w 2643893"/>
              <a:gd name="connsiteY31" fmla="*/ 111008 h 2601796"/>
              <a:gd name="connsiteX32" fmla="*/ 1224668 w 2643893"/>
              <a:gd name="connsiteY32" fmla="*/ 106246 h 2601796"/>
              <a:gd name="connsiteX33" fmla="*/ 1253243 w 2643893"/>
              <a:gd name="connsiteY33" fmla="*/ 96721 h 2601796"/>
              <a:gd name="connsiteX34" fmla="*/ 1329443 w 2643893"/>
              <a:gd name="connsiteY34" fmla="*/ 87196 h 2601796"/>
              <a:gd name="connsiteX35" fmla="*/ 1372305 w 2643893"/>
              <a:gd name="connsiteY35" fmla="*/ 77671 h 2601796"/>
              <a:gd name="connsiteX36" fmla="*/ 1415168 w 2643893"/>
              <a:gd name="connsiteY36" fmla="*/ 72908 h 2601796"/>
              <a:gd name="connsiteX37" fmla="*/ 1453268 w 2643893"/>
              <a:gd name="connsiteY37" fmla="*/ 63383 h 2601796"/>
              <a:gd name="connsiteX38" fmla="*/ 1524705 w 2643893"/>
              <a:gd name="connsiteY38" fmla="*/ 53858 h 2601796"/>
              <a:gd name="connsiteX39" fmla="*/ 1605668 w 2643893"/>
              <a:gd name="connsiteY39" fmla="*/ 39571 h 2601796"/>
              <a:gd name="connsiteX40" fmla="*/ 1705680 w 2643893"/>
              <a:gd name="connsiteY40" fmla="*/ 30046 h 2601796"/>
              <a:gd name="connsiteX41" fmla="*/ 1881893 w 2643893"/>
              <a:gd name="connsiteY41" fmla="*/ 20521 h 2601796"/>
              <a:gd name="connsiteX42" fmla="*/ 2329568 w 2643893"/>
              <a:gd name="connsiteY42" fmla="*/ 20521 h 2601796"/>
              <a:gd name="connsiteX43" fmla="*/ 2358143 w 2643893"/>
              <a:gd name="connsiteY43" fmla="*/ 30046 h 2601796"/>
              <a:gd name="connsiteX44" fmla="*/ 2386718 w 2643893"/>
              <a:gd name="connsiteY44" fmla="*/ 39571 h 2601796"/>
              <a:gd name="connsiteX45" fmla="*/ 2577218 w 2643893"/>
              <a:gd name="connsiteY45" fmla="*/ 44333 h 2601796"/>
              <a:gd name="connsiteX46" fmla="*/ 2615318 w 2643893"/>
              <a:gd name="connsiteY46" fmla="*/ 53858 h 2601796"/>
              <a:gd name="connsiteX47" fmla="*/ 2629605 w 2643893"/>
              <a:gd name="connsiteY47" fmla="*/ 63383 h 2601796"/>
              <a:gd name="connsiteX48" fmla="*/ 2643893 w 2643893"/>
              <a:gd name="connsiteY48" fmla="*/ 68146 h 2601796"/>
              <a:gd name="connsiteX49" fmla="*/ 2639130 w 2643893"/>
              <a:gd name="connsiteY49" fmla="*/ 2597033 h 2601796"/>
              <a:gd name="connsiteX50" fmla="*/ 705 w 2643893"/>
              <a:gd name="connsiteY50" fmla="*/ 2601796 h 2601796"/>
              <a:gd name="connsiteX51" fmla="*/ 705 w 2643893"/>
              <a:gd name="connsiteY51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472193 w 2643893"/>
              <a:gd name="connsiteY6" fmla="*/ 406283 h 2601796"/>
              <a:gd name="connsiteX7" fmla="*/ 562680 w 2643893"/>
              <a:gd name="connsiteY7" fmla="*/ 382471 h 2601796"/>
              <a:gd name="connsiteX8" fmla="*/ 567443 w 2643893"/>
              <a:gd name="connsiteY8" fmla="*/ 349133 h 2601796"/>
              <a:gd name="connsiteX9" fmla="*/ 653168 w 2643893"/>
              <a:gd name="connsiteY9" fmla="*/ 339608 h 2601796"/>
              <a:gd name="connsiteX10" fmla="*/ 667455 w 2643893"/>
              <a:gd name="connsiteY10" fmla="*/ 330083 h 2601796"/>
              <a:gd name="connsiteX11" fmla="*/ 696030 w 2643893"/>
              <a:gd name="connsiteY11" fmla="*/ 306271 h 2601796"/>
              <a:gd name="connsiteX12" fmla="*/ 753180 w 2643893"/>
              <a:gd name="connsiteY12" fmla="*/ 282458 h 2601796"/>
              <a:gd name="connsiteX13" fmla="*/ 781755 w 2643893"/>
              <a:gd name="connsiteY13" fmla="*/ 268171 h 2601796"/>
              <a:gd name="connsiteX14" fmla="*/ 796043 w 2643893"/>
              <a:gd name="connsiteY14" fmla="*/ 258646 h 2601796"/>
              <a:gd name="connsiteX15" fmla="*/ 810330 w 2643893"/>
              <a:gd name="connsiteY15" fmla="*/ 253883 h 2601796"/>
              <a:gd name="connsiteX16" fmla="*/ 819855 w 2643893"/>
              <a:gd name="connsiteY16" fmla="*/ 239596 h 2601796"/>
              <a:gd name="connsiteX17" fmla="*/ 838905 w 2643893"/>
              <a:gd name="connsiteY17" fmla="*/ 234833 h 2601796"/>
              <a:gd name="connsiteX18" fmla="*/ 867480 w 2643893"/>
              <a:gd name="connsiteY18" fmla="*/ 225308 h 2601796"/>
              <a:gd name="connsiteX19" fmla="*/ 896055 w 2643893"/>
              <a:gd name="connsiteY19" fmla="*/ 215783 h 2601796"/>
              <a:gd name="connsiteX20" fmla="*/ 910343 w 2643893"/>
              <a:gd name="connsiteY20" fmla="*/ 206258 h 2601796"/>
              <a:gd name="connsiteX21" fmla="*/ 924630 w 2643893"/>
              <a:gd name="connsiteY21" fmla="*/ 201496 h 2601796"/>
              <a:gd name="connsiteX22" fmla="*/ 938918 w 2643893"/>
              <a:gd name="connsiteY22" fmla="*/ 191971 h 2601796"/>
              <a:gd name="connsiteX23" fmla="*/ 977018 w 2643893"/>
              <a:gd name="connsiteY23" fmla="*/ 182446 h 2601796"/>
              <a:gd name="connsiteX24" fmla="*/ 1010355 w 2643893"/>
              <a:gd name="connsiteY24" fmla="*/ 172921 h 2601796"/>
              <a:gd name="connsiteX25" fmla="*/ 1053218 w 2643893"/>
              <a:gd name="connsiteY25" fmla="*/ 168158 h 2601796"/>
              <a:gd name="connsiteX26" fmla="*/ 1067505 w 2643893"/>
              <a:gd name="connsiteY26" fmla="*/ 158633 h 2601796"/>
              <a:gd name="connsiteX27" fmla="*/ 1105605 w 2643893"/>
              <a:gd name="connsiteY27" fmla="*/ 149108 h 2601796"/>
              <a:gd name="connsiteX28" fmla="*/ 1134180 w 2643893"/>
              <a:gd name="connsiteY28" fmla="*/ 134821 h 2601796"/>
              <a:gd name="connsiteX29" fmla="*/ 1148468 w 2643893"/>
              <a:gd name="connsiteY29" fmla="*/ 125296 h 2601796"/>
              <a:gd name="connsiteX30" fmla="*/ 1196093 w 2643893"/>
              <a:gd name="connsiteY30" fmla="*/ 111008 h 2601796"/>
              <a:gd name="connsiteX31" fmla="*/ 1224668 w 2643893"/>
              <a:gd name="connsiteY31" fmla="*/ 106246 h 2601796"/>
              <a:gd name="connsiteX32" fmla="*/ 1253243 w 2643893"/>
              <a:gd name="connsiteY32" fmla="*/ 96721 h 2601796"/>
              <a:gd name="connsiteX33" fmla="*/ 1329443 w 2643893"/>
              <a:gd name="connsiteY33" fmla="*/ 87196 h 2601796"/>
              <a:gd name="connsiteX34" fmla="*/ 1372305 w 2643893"/>
              <a:gd name="connsiteY34" fmla="*/ 77671 h 2601796"/>
              <a:gd name="connsiteX35" fmla="*/ 1415168 w 2643893"/>
              <a:gd name="connsiteY35" fmla="*/ 72908 h 2601796"/>
              <a:gd name="connsiteX36" fmla="*/ 1453268 w 2643893"/>
              <a:gd name="connsiteY36" fmla="*/ 63383 h 2601796"/>
              <a:gd name="connsiteX37" fmla="*/ 1524705 w 2643893"/>
              <a:gd name="connsiteY37" fmla="*/ 53858 h 2601796"/>
              <a:gd name="connsiteX38" fmla="*/ 1605668 w 2643893"/>
              <a:gd name="connsiteY38" fmla="*/ 39571 h 2601796"/>
              <a:gd name="connsiteX39" fmla="*/ 1705680 w 2643893"/>
              <a:gd name="connsiteY39" fmla="*/ 30046 h 2601796"/>
              <a:gd name="connsiteX40" fmla="*/ 1881893 w 2643893"/>
              <a:gd name="connsiteY40" fmla="*/ 20521 h 2601796"/>
              <a:gd name="connsiteX41" fmla="*/ 2329568 w 2643893"/>
              <a:gd name="connsiteY41" fmla="*/ 20521 h 2601796"/>
              <a:gd name="connsiteX42" fmla="*/ 2358143 w 2643893"/>
              <a:gd name="connsiteY42" fmla="*/ 30046 h 2601796"/>
              <a:gd name="connsiteX43" fmla="*/ 2386718 w 2643893"/>
              <a:gd name="connsiteY43" fmla="*/ 39571 h 2601796"/>
              <a:gd name="connsiteX44" fmla="*/ 2577218 w 2643893"/>
              <a:gd name="connsiteY44" fmla="*/ 44333 h 2601796"/>
              <a:gd name="connsiteX45" fmla="*/ 2615318 w 2643893"/>
              <a:gd name="connsiteY45" fmla="*/ 53858 h 2601796"/>
              <a:gd name="connsiteX46" fmla="*/ 2629605 w 2643893"/>
              <a:gd name="connsiteY46" fmla="*/ 63383 h 2601796"/>
              <a:gd name="connsiteX47" fmla="*/ 2643893 w 2643893"/>
              <a:gd name="connsiteY47" fmla="*/ 68146 h 2601796"/>
              <a:gd name="connsiteX48" fmla="*/ 2639130 w 2643893"/>
              <a:gd name="connsiteY48" fmla="*/ 2597033 h 2601796"/>
              <a:gd name="connsiteX49" fmla="*/ 705 w 2643893"/>
              <a:gd name="connsiteY49" fmla="*/ 2601796 h 2601796"/>
              <a:gd name="connsiteX50" fmla="*/ 705 w 2643893"/>
              <a:gd name="connsiteY50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462668 w 2643893"/>
              <a:gd name="connsiteY5" fmla="*/ 420571 h 2601796"/>
              <a:gd name="connsiteX6" fmla="*/ 562680 w 2643893"/>
              <a:gd name="connsiteY6" fmla="*/ 382471 h 2601796"/>
              <a:gd name="connsiteX7" fmla="*/ 567443 w 2643893"/>
              <a:gd name="connsiteY7" fmla="*/ 349133 h 2601796"/>
              <a:gd name="connsiteX8" fmla="*/ 653168 w 2643893"/>
              <a:gd name="connsiteY8" fmla="*/ 339608 h 2601796"/>
              <a:gd name="connsiteX9" fmla="*/ 667455 w 2643893"/>
              <a:gd name="connsiteY9" fmla="*/ 330083 h 2601796"/>
              <a:gd name="connsiteX10" fmla="*/ 696030 w 2643893"/>
              <a:gd name="connsiteY10" fmla="*/ 306271 h 2601796"/>
              <a:gd name="connsiteX11" fmla="*/ 753180 w 2643893"/>
              <a:gd name="connsiteY11" fmla="*/ 282458 h 2601796"/>
              <a:gd name="connsiteX12" fmla="*/ 781755 w 2643893"/>
              <a:gd name="connsiteY12" fmla="*/ 268171 h 2601796"/>
              <a:gd name="connsiteX13" fmla="*/ 796043 w 2643893"/>
              <a:gd name="connsiteY13" fmla="*/ 258646 h 2601796"/>
              <a:gd name="connsiteX14" fmla="*/ 810330 w 2643893"/>
              <a:gd name="connsiteY14" fmla="*/ 253883 h 2601796"/>
              <a:gd name="connsiteX15" fmla="*/ 819855 w 2643893"/>
              <a:gd name="connsiteY15" fmla="*/ 239596 h 2601796"/>
              <a:gd name="connsiteX16" fmla="*/ 838905 w 2643893"/>
              <a:gd name="connsiteY16" fmla="*/ 234833 h 2601796"/>
              <a:gd name="connsiteX17" fmla="*/ 867480 w 2643893"/>
              <a:gd name="connsiteY17" fmla="*/ 225308 h 2601796"/>
              <a:gd name="connsiteX18" fmla="*/ 896055 w 2643893"/>
              <a:gd name="connsiteY18" fmla="*/ 215783 h 2601796"/>
              <a:gd name="connsiteX19" fmla="*/ 910343 w 2643893"/>
              <a:gd name="connsiteY19" fmla="*/ 206258 h 2601796"/>
              <a:gd name="connsiteX20" fmla="*/ 924630 w 2643893"/>
              <a:gd name="connsiteY20" fmla="*/ 201496 h 2601796"/>
              <a:gd name="connsiteX21" fmla="*/ 938918 w 2643893"/>
              <a:gd name="connsiteY21" fmla="*/ 191971 h 2601796"/>
              <a:gd name="connsiteX22" fmla="*/ 977018 w 2643893"/>
              <a:gd name="connsiteY22" fmla="*/ 182446 h 2601796"/>
              <a:gd name="connsiteX23" fmla="*/ 1010355 w 2643893"/>
              <a:gd name="connsiteY23" fmla="*/ 172921 h 2601796"/>
              <a:gd name="connsiteX24" fmla="*/ 1053218 w 2643893"/>
              <a:gd name="connsiteY24" fmla="*/ 168158 h 2601796"/>
              <a:gd name="connsiteX25" fmla="*/ 1067505 w 2643893"/>
              <a:gd name="connsiteY25" fmla="*/ 158633 h 2601796"/>
              <a:gd name="connsiteX26" fmla="*/ 1105605 w 2643893"/>
              <a:gd name="connsiteY26" fmla="*/ 149108 h 2601796"/>
              <a:gd name="connsiteX27" fmla="*/ 1134180 w 2643893"/>
              <a:gd name="connsiteY27" fmla="*/ 134821 h 2601796"/>
              <a:gd name="connsiteX28" fmla="*/ 1148468 w 2643893"/>
              <a:gd name="connsiteY28" fmla="*/ 125296 h 2601796"/>
              <a:gd name="connsiteX29" fmla="*/ 1196093 w 2643893"/>
              <a:gd name="connsiteY29" fmla="*/ 111008 h 2601796"/>
              <a:gd name="connsiteX30" fmla="*/ 1224668 w 2643893"/>
              <a:gd name="connsiteY30" fmla="*/ 106246 h 2601796"/>
              <a:gd name="connsiteX31" fmla="*/ 1253243 w 2643893"/>
              <a:gd name="connsiteY31" fmla="*/ 96721 h 2601796"/>
              <a:gd name="connsiteX32" fmla="*/ 1329443 w 2643893"/>
              <a:gd name="connsiteY32" fmla="*/ 87196 h 2601796"/>
              <a:gd name="connsiteX33" fmla="*/ 1372305 w 2643893"/>
              <a:gd name="connsiteY33" fmla="*/ 77671 h 2601796"/>
              <a:gd name="connsiteX34" fmla="*/ 1415168 w 2643893"/>
              <a:gd name="connsiteY34" fmla="*/ 72908 h 2601796"/>
              <a:gd name="connsiteX35" fmla="*/ 1453268 w 2643893"/>
              <a:gd name="connsiteY35" fmla="*/ 63383 h 2601796"/>
              <a:gd name="connsiteX36" fmla="*/ 1524705 w 2643893"/>
              <a:gd name="connsiteY36" fmla="*/ 53858 h 2601796"/>
              <a:gd name="connsiteX37" fmla="*/ 1605668 w 2643893"/>
              <a:gd name="connsiteY37" fmla="*/ 39571 h 2601796"/>
              <a:gd name="connsiteX38" fmla="*/ 1705680 w 2643893"/>
              <a:gd name="connsiteY38" fmla="*/ 30046 h 2601796"/>
              <a:gd name="connsiteX39" fmla="*/ 1881893 w 2643893"/>
              <a:gd name="connsiteY39" fmla="*/ 20521 h 2601796"/>
              <a:gd name="connsiteX40" fmla="*/ 2329568 w 2643893"/>
              <a:gd name="connsiteY40" fmla="*/ 20521 h 2601796"/>
              <a:gd name="connsiteX41" fmla="*/ 2358143 w 2643893"/>
              <a:gd name="connsiteY41" fmla="*/ 30046 h 2601796"/>
              <a:gd name="connsiteX42" fmla="*/ 2386718 w 2643893"/>
              <a:gd name="connsiteY42" fmla="*/ 39571 h 2601796"/>
              <a:gd name="connsiteX43" fmla="*/ 2577218 w 2643893"/>
              <a:gd name="connsiteY43" fmla="*/ 44333 h 2601796"/>
              <a:gd name="connsiteX44" fmla="*/ 2615318 w 2643893"/>
              <a:gd name="connsiteY44" fmla="*/ 53858 h 2601796"/>
              <a:gd name="connsiteX45" fmla="*/ 2629605 w 2643893"/>
              <a:gd name="connsiteY45" fmla="*/ 63383 h 2601796"/>
              <a:gd name="connsiteX46" fmla="*/ 2643893 w 2643893"/>
              <a:gd name="connsiteY46" fmla="*/ 68146 h 2601796"/>
              <a:gd name="connsiteX47" fmla="*/ 2639130 w 2643893"/>
              <a:gd name="connsiteY47" fmla="*/ 2597033 h 2601796"/>
              <a:gd name="connsiteX48" fmla="*/ 705 w 2643893"/>
              <a:gd name="connsiteY48" fmla="*/ 2601796 h 2601796"/>
              <a:gd name="connsiteX49" fmla="*/ 705 w 2643893"/>
              <a:gd name="connsiteY49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2680 w 2643893"/>
              <a:gd name="connsiteY5" fmla="*/ 382471 h 2601796"/>
              <a:gd name="connsiteX6" fmla="*/ 567443 w 2643893"/>
              <a:gd name="connsiteY6" fmla="*/ 349133 h 2601796"/>
              <a:gd name="connsiteX7" fmla="*/ 653168 w 2643893"/>
              <a:gd name="connsiteY7" fmla="*/ 339608 h 2601796"/>
              <a:gd name="connsiteX8" fmla="*/ 667455 w 2643893"/>
              <a:gd name="connsiteY8" fmla="*/ 330083 h 2601796"/>
              <a:gd name="connsiteX9" fmla="*/ 696030 w 2643893"/>
              <a:gd name="connsiteY9" fmla="*/ 306271 h 2601796"/>
              <a:gd name="connsiteX10" fmla="*/ 753180 w 2643893"/>
              <a:gd name="connsiteY10" fmla="*/ 282458 h 2601796"/>
              <a:gd name="connsiteX11" fmla="*/ 781755 w 2643893"/>
              <a:gd name="connsiteY11" fmla="*/ 268171 h 2601796"/>
              <a:gd name="connsiteX12" fmla="*/ 796043 w 2643893"/>
              <a:gd name="connsiteY12" fmla="*/ 258646 h 2601796"/>
              <a:gd name="connsiteX13" fmla="*/ 810330 w 2643893"/>
              <a:gd name="connsiteY13" fmla="*/ 253883 h 2601796"/>
              <a:gd name="connsiteX14" fmla="*/ 819855 w 2643893"/>
              <a:gd name="connsiteY14" fmla="*/ 239596 h 2601796"/>
              <a:gd name="connsiteX15" fmla="*/ 838905 w 2643893"/>
              <a:gd name="connsiteY15" fmla="*/ 234833 h 2601796"/>
              <a:gd name="connsiteX16" fmla="*/ 867480 w 2643893"/>
              <a:gd name="connsiteY16" fmla="*/ 225308 h 2601796"/>
              <a:gd name="connsiteX17" fmla="*/ 896055 w 2643893"/>
              <a:gd name="connsiteY17" fmla="*/ 215783 h 2601796"/>
              <a:gd name="connsiteX18" fmla="*/ 910343 w 2643893"/>
              <a:gd name="connsiteY18" fmla="*/ 206258 h 2601796"/>
              <a:gd name="connsiteX19" fmla="*/ 924630 w 2643893"/>
              <a:gd name="connsiteY19" fmla="*/ 201496 h 2601796"/>
              <a:gd name="connsiteX20" fmla="*/ 938918 w 2643893"/>
              <a:gd name="connsiteY20" fmla="*/ 191971 h 2601796"/>
              <a:gd name="connsiteX21" fmla="*/ 977018 w 2643893"/>
              <a:gd name="connsiteY21" fmla="*/ 182446 h 2601796"/>
              <a:gd name="connsiteX22" fmla="*/ 1010355 w 2643893"/>
              <a:gd name="connsiteY22" fmla="*/ 172921 h 2601796"/>
              <a:gd name="connsiteX23" fmla="*/ 1053218 w 2643893"/>
              <a:gd name="connsiteY23" fmla="*/ 168158 h 2601796"/>
              <a:gd name="connsiteX24" fmla="*/ 1067505 w 2643893"/>
              <a:gd name="connsiteY24" fmla="*/ 158633 h 2601796"/>
              <a:gd name="connsiteX25" fmla="*/ 1105605 w 2643893"/>
              <a:gd name="connsiteY25" fmla="*/ 149108 h 2601796"/>
              <a:gd name="connsiteX26" fmla="*/ 1134180 w 2643893"/>
              <a:gd name="connsiteY26" fmla="*/ 134821 h 2601796"/>
              <a:gd name="connsiteX27" fmla="*/ 1148468 w 2643893"/>
              <a:gd name="connsiteY27" fmla="*/ 125296 h 2601796"/>
              <a:gd name="connsiteX28" fmla="*/ 1196093 w 2643893"/>
              <a:gd name="connsiteY28" fmla="*/ 111008 h 2601796"/>
              <a:gd name="connsiteX29" fmla="*/ 1224668 w 2643893"/>
              <a:gd name="connsiteY29" fmla="*/ 106246 h 2601796"/>
              <a:gd name="connsiteX30" fmla="*/ 1253243 w 2643893"/>
              <a:gd name="connsiteY30" fmla="*/ 96721 h 2601796"/>
              <a:gd name="connsiteX31" fmla="*/ 1329443 w 2643893"/>
              <a:gd name="connsiteY31" fmla="*/ 87196 h 2601796"/>
              <a:gd name="connsiteX32" fmla="*/ 1372305 w 2643893"/>
              <a:gd name="connsiteY32" fmla="*/ 77671 h 2601796"/>
              <a:gd name="connsiteX33" fmla="*/ 1415168 w 2643893"/>
              <a:gd name="connsiteY33" fmla="*/ 72908 h 2601796"/>
              <a:gd name="connsiteX34" fmla="*/ 1453268 w 2643893"/>
              <a:gd name="connsiteY34" fmla="*/ 63383 h 2601796"/>
              <a:gd name="connsiteX35" fmla="*/ 1524705 w 2643893"/>
              <a:gd name="connsiteY35" fmla="*/ 53858 h 2601796"/>
              <a:gd name="connsiteX36" fmla="*/ 1605668 w 2643893"/>
              <a:gd name="connsiteY36" fmla="*/ 39571 h 2601796"/>
              <a:gd name="connsiteX37" fmla="*/ 1705680 w 2643893"/>
              <a:gd name="connsiteY37" fmla="*/ 30046 h 2601796"/>
              <a:gd name="connsiteX38" fmla="*/ 1881893 w 2643893"/>
              <a:gd name="connsiteY38" fmla="*/ 20521 h 2601796"/>
              <a:gd name="connsiteX39" fmla="*/ 2329568 w 2643893"/>
              <a:gd name="connsiteY39" fmla="*/ 20521 h 2601796"/>
              <a:gd name="connsiteX40" fmla="*/ 2358143 w 2643893"/>
              <a:gd name="connsiteY40" fmla="*/ 30046 h 2601796"/>
              <a:gd name="connsiteX41" fmla="*/ 2386718 w 2643893"/>
              <a:gd name="connsiteY41" fmla="*/ 39571 h 2601796"/>
              <a:gd name="connsiteX42" fmla="*/ 2577218 w 2643893"/>
              <a:gd name="connsiteY42" fmla="*/ 44333 h 2601796"/>
              <a:gd name="connsiteX43" fmla="*/ 2615318 w 2643893"/>
              <a:gd name="connsiteY43" fmla="*/ 53858 h 2601796"/>
              <a:gd name="connsiteX44" fmla="*/ 2629605 w 2643893"/>
              <a:gd name="connsiteY44" fmla="*/ 63383 h 2601796"/>
              <a:gd name="connsiteX45" fmla="*/ 2643893 w 2643893"/>
              <a:gd name="connsiteY45" fmla="*/ 68146 h 2601796"/>
              <a:gd name="connsiteX46" fmla="*/ 2639130 w 2643893"/>
              <a:gd name="connsiteY46" fmla="*/ 2597033 h 2601796"/>
              <a:gd name="connsiteX47" fmla="*/ 705 w 2643893"/>
              <a:gd name="connsiteY47" fmla="*/ 2601796 h 2601796"/>
              <a:gd name="connsiteX48" fmla="*/ 705 w 2643893"/>
              <a:gd name="connsiteY48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53168 w 2643893"/>
              <a:gd name="connsiteY6" fmla="*/ 339608 h 2601796"/>
              <a:gd name="connsiteX7" fmla="*/ 667455 w 2643893"/>
              <a:gd name="connsiteY7" fmla="*/ 330083 h 2601796"/>
              <a:gd name="connsiteX8" fmla="*/ 696030 w 2643893"/>
              <a:gd name="connsiteY8" fmla="*/ 306271 h 2601796"/>
              <a:gd name="connsiteX9" fmla="*/ 753180 w 2643893"/>
              <a:gd name="connsiteY9" fmla="*/ 282458 h 2601796"/>
              <a:gd name="connsiteX10" fmla="*/ 781755 w 2643893"/>
              <a:gd name="connsiteY10" fmla="*/ 268171 h 2601796"/>
              <a:gd name="connsiteX11" fmla="*/ 796043 w 2643893"/>
              <a:gd name="connsiteY11" fmla="*/ 258646 h 2601796"/>
              <a:gd name="connsiteX12" fmla="*/ 810330 w 2643893"/>
              <a:gd name="connsiteY12" fmla="*/ 253883 h 2601796"/>
              <a:gd name="connsiteX13" fmla="*/ 819855 w 2643893"/>
              <a:gd name="connsiteY13" fmla="*/ 239596 h 2601796"/>
              <a:gd name="connsiteX14" fmla="*/ 838905 w 2643893"/>
              <a:gd name="connsiteY14" fmla="*/ 234833 h 2601796"/>
              <a:gd name="connsiteX15" fmla="*/ 867480 w 2643893"/>
              <a:gd name="connsiteY15" fmla="*/ 225308 h 2601796"/>
              <a:gd name="connsiteX16" fmla="*/ 896055 w 2643893"/>
              <a:gd name="connsiteY16" fmla="*/ 215783 h 2601796"/>
              <a:gd name="connsiteX17" fmla="*/ 910343 w 2643893"/>
              <a:gd name="connsiteY17" fmla="*/ 206258 h 2601796"/>
              <a:gd name="connsiteX18" fmla="*/ 924630 w 2643893"/>
              <a:gd name="connsiteY18" fmla="*/ 201496 h 2601796"/>
              <a:gd name="connsiteX19" fmla="*/ 938918 w 2643893"/>
              <a:gd name="connsiteY19" fmla="*/ 191971 h 2601796"/>
              <a:gd name="connsiteX20" fmla="*/ 977018 w 2643893"/>
              <a:gd name="connsiteY20" fmla="*/ 182446 h 2601796"/>
              <a:gd name="connsiteX21" fmla="*/ 1010355 w 2643893"/>
              <a:gd name="connsiteY21" fmla="*/ 172921 h 2601796"/>
              <a:gd name="connsiteX22" fmla="*/ 1053218 w 2643893"/>
              <a:gd name="connsiteY22" fmla="*/ 168158 h 2601796"/>
              <a:gd name="connsiteX23" fmla="*/ 1067505 w 2643893"/>
              <a:gd name="connsiteY23" fmla="*/ 158633 h 2601796"/>
              <a:gd name="connsiteX24" fmla="*/ 1105605 w 2643893"/>
              <a:gd name="connsiteY24" fmla="*/ 149108 h 2601796"/>
              <a:gd name="connsiteX25" fmla="*/ 1134180 w 2643893"/>
              <a:gd name="connsiteY25" fmla="*/ 134821 h 2601796"/>
              <a:gd name="connsiteX26" fmla="*/ 1148468 w 2643893"/>
              <a:gd name="connsiteY26" fmla="*/ 125296 h 2601796"/>
              <a:gd name="connsiteX27" fmla="*/ 1196093 w 2643893"/>
              <a:gd name="connsiteY27" fmla="*/ 111008 h 2601796"/>
              <a:gd name="connsiteX28" fmla="*/ 1224668 w 2643893"/>
              <a:gd name="connsiteY28" fmla="*/ 106246 h 2601796"/>
              <a:gd name="connsiteX29" fmla="*/ 1253243 w 2643893"/>
              <a:gd name="connsiteY29" fmla="*/ 96721 h 2601796"/>
              <a:gd name="connsiteX30" fmla="*/ 1329443 w 2643893"/>
              <a:gd name="connsiteY30" fmla="*/ 87196 h 2601796"/>
              <a:gd name="connsiteX31" fmla="*/ 1372305 w 2643893"/>
              <a:gd name="connsiteY31" fmla="*/ 77671 h 2601796"/>
              <a:gd name="connsiteX32" fmla="*/ 1415168 w 2643893"/>
              <a:gd name="connsiteY32" fmla="*/ 72908 h 2601796"/>
              <a:gd name="connsiteX33" fmla="*/ 1453268 w 2643893"/>
              <a:gd name="connsiteY33" fmla="*/ 63383 h 2601796"/>
              <a:gd name="connsiteX34" fmla="*/ 1524705 w 2643893"/>
              <a:gd name="connsiteY34" fmla="*/ 53858 h 2601796"/>
              <a:gd name="connsiteX35" fmla="*/ 1605668 w 2643893"/>
              <a:gd name="connsiteY35" fmla="*/ 39571 h 2601796"/>
              <a:gd name="connsiteX36" fmla="*/ 1705680 w 2643893"/>
              <a:gd name="connsiteY36" fmla="*/ 30046 h 2601796"/>
              <a:gd name="connsiteX37" fmla="*/ 1881893 w 2643893"/>
              <a:gd name="connsiteY37" fmla="*/ 20521 h 2601796"/>
              <a:gd name="connsiteX38" fmla="*/ 2329568 w 2643893"/>
              <a:gd name="connsiteY38" fmla="*/ 20521 h 2601796"/>
              <a:gd name="connsiteX39" fmla="*/ 2358143 w 2643893"/>
              <a:gd name="connsiteY39" fmla="*/ 30046 h 2601796"/>
              <a:gd name="connsiteX40" fmla="*/ 2386718 w 2643893"/>
              <a:gd name="connsiteY40" fmla="*/ 39571 h 2601796"/>
              <a:gd name="connsiteX41" fmla="*/ 2577218 w 2643893"/>
              <a:gd name="connsiteY41" fmla="*/ 44333 h 2601796"/>
              <a:gd name="connsiteX42" fmla="*/ 2615318 w 2643893"/>
              <a:gd name="connsiteY42" fmla="*/ 53858 h 2601796"/>
              <a:gd name="connsiteX43" fmla="*/ 2629605 w 2643893"/>
              <a:gd name="connsiteY43" fmla="*/ 63383 h 2601796"/>
              <a:gd name="connsiteX44" fmla="*/ 2643893 w 2643893"/>
              <a:gd name="connsiteY44" fmla="*/ 68146 h 2601796"/>
              <a:gd name="connsiteX45" fmla="*/ 2639130 w 2643893"/>
              <a:gd name="connsiteY45" fmla="*/ 2597033 h 2601796"/>
              <a:gd name="connsiteX46" fmla="*/ 705 w 2643893"/>
              <a:gd name="connsiteY46" fmla="*/ 2601796 h 2601796"/>
              <a:gd name="connsiteX47" fmla="*/ 705 w 2643893"/>
              <a:gd name="connsiteY47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53168 w 2643893"/>
              <a:gd name="connsiteY6" fmla="*/ 339608 h 2601796"/>
              <a:gd name="connsiteX7" fmla="*/ 667455 w 2643893"/>
              <a:gd name="connsiteY7" fmla="*/ 330083 h 2601796"/>
              <a:gd name="connsiteX8" fmla="*/ 753180 w 2643893"/>
              <a:gd name="connsiteY8" fmla="*/ 282458 h 2601796"/>
              <a:gd name="connsiteX9" fmla="*/ 781755 w 2643893"/>
              <a:gd name="connsiteY9" fmla="*/ 268171 h 2601796"/>
              <a:gd name="connsiteX10" fmla="*/ 796043 w 2643893"/>
              <a:gd name="connsiteY10" fmla="*/ 258646 h 2601796"/>
              <a:gd name="connsiteX11" fmla="*/ 810330 w 2643893"/>
              <a:gd name="connsiteY11" fmla="*/ 253883 h 2601796"/>
              <a:gd name="connsiteX12" fmla="*/ 819855 w 2643893"/>
              <a:gd name="connsiteY12" fmla="*/ 239596 h 2601796"/>
              <a:gd name="connsiteX13" fmla="*/ 838905 w 2643893"/>
              <a:gd name="connsiteY13" fmla="*/ 234833 h 2601796"/>
              <a:gd name="connsiteX14" fmla="*/ 867480 w 2643893"/>
              <a:gd name="connsiteY14" fmla="*/ 225308 h 2601796"/>
              <a:gd name="connsiteX15" fmla="*/ 896055 w 2643893"/>
              <a:gd name="connsiteY15" fmla="*/ 215783 h 2601796"/>
              <a:gd name="connsiteX16" fmla="*/ 910343 w 2643893"/>
              <a:gd name="connsiteY16" fmla="*/ 206258 h 2601796"/>
              <a:gd name="connsiteX17" fmla="*/ 924630 w 2643893"/>
              <a:gd name="connsiteY17" fmla="*/ 201496 h 2601796"/>
              <a:gd name="connsiteX18" fmla="*/ 938918 w 2643893"/>
              <a:gd name="connsiteY18" fmla="*/ 191971 h 2601796"/>
              <a:gd name="connsiteX19" fmla="*/ 977018 w 2643893"/>
              <a:gd name="connsiteY19" fmla="*/ 182446 h 2601796"/>
              <a:gd name="connsiteX20" fmla="*/ 1010355 w 2643893"/>
              <a:gd name="connsiteY20" fmla="*/ 172921 h 2601796"/>
              <a:gd name="connsiteX21" fmla="*/ 1053218 w 2643893"/>
              <a:gd name="connsiteY21" fmla="*/ 168158 h 2601796"/>
              <a:gd name="connsiteX22" fmla="*/ 1067505 w 2643893"/>
              <a:gd name="connsiteY22" fmla="*/ 158633 h 2601796"/>
              <a:gd name="connsiteX23" fmla="*/ 1105605 w 2643893"/>
              <a:gd name="connsiteY23" fmla="*/ 149108 h 2601796"/>
              <a:gd name="connsiteX24" fmla="*/ 1134180 w 2643893"/>
              <a:gd name="connsiteY24" fmla="*/ 134821 h 2601796"/>
              <a:gd name="connsiteX25" fmla="*/ 1148468 w 2643893"/>
              <a:gd name="connsiteY25" fmla="*/ 125296 h 2601796"/>
              <a:gd name="connsiteX26" fmla="*/ 1196093 w 2643893"/>
              <a:gd name="connsiteY26" fmla="*/ 111008 h 2601796"/>
              <a:gd name="connsiteX27" fmla="*/ 1224668 w 2643893"/>
              <a:gd name="connsiteY27" fmla="*/ 106246 h 2601796"/>
              <a:gd name="connsiteX28" fmla="*/ 1253243 w 2643893"/>
              <a:gd name="connsiteY28" fmla="*/ 96721 h 2601796"/>
              <a:gd name="connsiteX29" fmla="*/ 1329443 w 2643893"/>
              <a:gd name="connsiteY29" fmla="*/ 87196 h 2601796"/>
              <a:gd name="connsiteX30" fmla="*/ 1372305 w 2643893"/>
              <a:gd name="connsiteY30" fmla="*/ 77671 h 2601796"/>
              <a:gd name="connsiteX31" fmla="*/ 1415168 w 2643893"/>
              <a:gd name="connsiteY31" fmla="*/ 72908 h 2601796"/>
              <a:gd name="connsiteX32" fmla="*/ 1453268 w 2643893"/>
              <a:gd name="connsiteY32" fmla="*/ 63383 h 2601796"/>
              <a:gd name="connsiteX33" fmla="*/ 1524705 w 2643893"/>
              <a:gd name="connsiteY33" fmla="*/ 53858 h 2601796"/>
              <a:gd name="connsiteX34" fmla="*/ 1605668 w 2643893"/>
              <a:gd name="connsiteY34" fmla="*/ 39571 h 2601796"/>
              <a:gd name="connsiteX35" fmla="*/ 1705680 w 2643893"/>
              <a:gd name="connsiteY35" fmla="*/ 30046 h 2601796"/>
              <a:gd name="connsiteX36" fmla="*/ 1881893 w 2643893"/>
              <a:gd name="connsiteY36" fmla="*/ 20521 h 2601796"/>
              <a:gd name="connsiteX37" fmla="*/ 2329568 w 2643893"/>
              <a:gd name="connsiteY37" fmla="*/ 20521 h 2601796"/>
              <a:gd name="connsiteX38" fmla="*/ 2358143 w 2643893"/>
              <a:gd name="connsiteY38" fmla="*/ 30046 h 2601796"/>
              <a:gd name="connsiteX39" fmla="*/ 2386718 w 2643893"/>
              <a:gd name="connsiteY39" fmla="*/ 39571 h 2601796"/>
              <a:gd name="connsiteX40" fmla="*/ 2577218 w 2643893"/>
              <a:gd name="connsiteY40" fmla="*/ 44333 h 2601796"/>
              <a:gd name="connsiteX41" fmla="*/ 2615318 w 2643893"/>
              <a:gd name="connsiteY41" fmla="*/ 53858 h 2601796"/>
              <a:gd name="connsiteX42" fmla="*/ 2629605 w 2643893"/>
              <a:gd name="connsiteY42" fmla="*/ 63383 h 2601796"/>
              <a:gd name="connsiteX43" fmla="*/ 2643893 w 2643893"/>
              <a:gd name="connsiteY43" fmla="*/ 68146 h 2601796"/>
              <a:gd name="connsiteX44" fmla="*/ 2639130 w 2643893"/>
              <a:gd name="connsiteY44" fmla="*/ 2597033 h 2601796"/>
              <a:gd name="connsiteX45" fmla="*/ 705 w 2643893"/>
              <a:gd name="connsiteY45" fmla="*/ 2601796 h 2601796"/>
              <a:gd name="connsiteX46" fmla="*/ 705 w 2643893"/>
              <a:gd name="connsiteY46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53168 w 2643893"/>
              <a:gd name="connsiteY6" fmla="*/ 339608 h 2601796"/>
              <a:gd name="connsiteX7" fmla="*/ 667455 w 2643893"/>
              <a:gd name="connsiteY7" fmla="*/ 330083 h 2601796"/>
              <a:gd name="connsiteX8" fmla="*/ 753180 w 2643893"/>
              <a:gd name="connsiteY8" fmla="*/ 282458 h 2601796"/>
              <a:gd name="connsiteX9" fmla="*/ 781755 w 2643893"/>
              <a:gd name="connsiteY9" fmla="*/ 268171 h 2601796"/>
              <a:gd name="connsiteX10" fmla="*/ 796043 w 2643893"/>
              <a:gd name="connsiteY10" fmla="*/ 258646 h 2601796"/>
              <a:gd name="connsiteX11" fmla="*/ 810330 w 2643893"/>
              <a:gd name="connsiteY11" fmla="*/ 253883 h 2601796"/>
              <a:gd name="connsiteX12" fmla="*/ 819855 w 2643893"/>
              <a:gd name="connsiteY12" fmla="*/ 239596 h 2601796"/>
              <a:gd name="connsiteX13" fmla="*/ 838905 w 2643893"/>
              <a:gd name="connsiteY13" fmla="*/ 234833 h 2601796"/>
              <a:gd name="connsiteX14" fmla="*/ 896055 w 2643893"/>
              <a:gd name="connsiteY14" fmla="*/ 215783 h 2601796"/>
              <a:gd name="connsiteX15" fmla="*/ 910343 w 2643893"/>
              <a:gd name="connsiteY15" fmla="*/ 206258 h 2601796"/>
              <a:gd name="connsiteX16" fmla="*/ 924630 w 2643893"/>
              <a:gd name="connsiteY16" fmla="*/ 201496 h 2601796"/>
              <a:gd name="connsiteX17" fmla="*/ 938918 w 2643893"/>
              <a:gd name="connsiteY17" fmla="*/ 191971 h 2601796"/>
              <a:gd name="connsiteX18" fmla="*/ 977018 w 2643893"/>
              <a:gd name="connsiteY18" fmla="*/ 182446 h 2601796"/>
              <a:gd name="connsiteX19" fmla="*/ 1010355 w 2643893"/>
              <a:gd name="connsiteY19" fmla="*/ 172921 h 2601796"/>
              <a:gd name="connsiteX20" fmla="*/ 1053218 w 2643893"/>
              <a:gd name="connsiteY20" fmla="*/ 168158 h 2601796"/>
              <a:gd name="connsiteX21" fmla="*/ 1067505 w 2643893"/>
              <a:gd name="connsiteY21" fmla="*/ 158633 h 2601796"/>
              <a:gd name="connsiteX22" fmla="*/ 1105605 w 2643893"/>
              <a:gd name="connsiteY22" fmla="*/ 149108 h 2601796"/>
              <a:gd name="connsiteX23" fmla="*/ 1134180 w 2643893"/>
              <a:gd name="connsiteY23" fmla="*/ 134821 h 2601796"/>
              <a:gd name="connsiteX24" fmla="*/ 1148468 w 2643893"/>
              <a:gd name="connsiteY24" fmla="*/ 125296 h 2601796"/>
              <a:gd name="connsiteX25" fmla="*/ 1196093 w 2643893"/>
              <a:gd name="connsiteY25" fmla="*/ 111008 h 2601796"/>
              <a:gd name="connsiteX26" fmla="*/ 1224668 w 2643893"/>
              <a:gd name="connsiteY26" fmla="*/ 106246 h 2601796"/>
              <a:gd name="connsiteX27" fmla="*/ 1253243 w 2643893"/>
              <a:gd name="connsiteY27" fmla="*/ 96721 h 2601796"/>
              <a:gd name="connsiteX28" fmla="*/ 1329443 w 2643893"/>
              <a:gd name="connsiteY28" fmla="*/ 87196 h 2601796"/>
              <a:gd name="connsiteX29" fmla="*/ 1372305 w 2643893"/>
              <a:gd name="connsiteY29" fmla="*/ 77671 h 2601796"/>
              <a:gd name="connsiteX30" fmla="*/ 1415168 w 2643893"/>
              <a:gd name="connsiteY30" fmla="*/ 72908 h 2601796"/>
              <a:gd name="connsiteX31" fmla="*/ 1453268 w 2643893"/>
              <a:gd name="connsiteY31" fmla="*/ 63383 h 2601796"/>
              <a:gd name="connsiteX32" fmla="*/ 1524705 w 2643893"/>
              <a:gd name="connsiteY32" fmla="*/ 53858 h 2601796"/>
              <a:gd name="connsiteX33" fmla="*/ 1605668 w 2643893"/>
              <a:gd name="connsiteY33" fmla="*/ 39571 h 2601796"/>
              <a:gd name="connsiteX34" fmla="*/ 1705680 w 2643893"/>
              <a:gd name="connsiteY34" fmla="*/ 30046 h 2601796"/>
              <a:gd name="connsiteX35" fmla="*/ 1881893 w 2643893"/>
              <a:gd name="connsiteY35" fmla="*/ 20521 h 2601796"/>
              <a:gd name="connsiteX36" fmla="*/ 2329568 w 2643893"/>
              <a:gd name="connsiteY36" fmla="*/ 20521 h 2601796"/>
              <a:gd name="connsiteX37" fmla="*/ 2358143 w 2643893"/>
              <a:gd name="connsiteY37" fmla="*/ 30046 h 2601796"/>
              <a:gd name="connsiteX38" fmla="*/ 2386718 w 2643893"/>
              <a:gd name="connsiteY38" fmla="*/ 39571 h 2601796"/>
              <a:gd name="connsiteX39" fmla="*/ 2577218 w 2643893"/>
              <a:gd name="connsiteY39" fmla="*/ 44333 h 2601796"/>
              <a:gd name="connsiteX40" fmla="*/ 2615318 w 2643893"/>
              <a:gd name="connsiteY40" fmla="*/ 53858 h 2601796"/>
              <a:gd name="connsiteX41" fmla="*/ 2629605 w 2643893"/>
              <a:gd name="connsiteY41" fmla="*/ 63383 h 2601796"/>
              <a:gd name="connsiteX42" fmla="*/ 2643893 w 2643893"/>
              <a:gd name="connsiteY42" fmla="*/ 68146 h 2601796"/>
              <a:gd name="connsiteX43" fmla="*/ 2639130 w 2643893"/>
              <a:gd name="connsiteY43" fmla="*/ 2597033 h 2601796"/>
              <a:gd name="connsiteX44" fmla="*/ 705 w 2643893"/>
              <a:gd name="connsiteY44" fmla="*/ 2601796 h 2601796"/>
              <a:gd name="connsiteX45" fmla="*/ 705 w 2643893"/>
              <a:gd name="connsiteY45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53168 w 2643893"/>
              <a:gd name="connsiteY6" fmla="*/ 339608 h 2601796"/>
              <a:gd name="connsiteX7" fmla="*/ 667455 w 2643893"/>
              <a:gd name="connsiteY7" fmla="*/ 330083 h 2601796"/>
              <a:gd name="connsiteX8" fmla="*/ 753180 w 2643893"/>
              <a:gd name="connsiteY8" fmla="*/ 282458 h 2601796"/>
              <a:gd name="connsiteX9" fmla="*/ 781755 w 2643893"/>
              <a:gd name="connsiteY9" fmla="*/ 268171 h 2601796"/>
              <a:gd name="connsiteX10" fmla="*/ 810330 w 2643893"/>
              <a:gd name="connsiteY10" fmla="*/ 253883 h 2601796"/>
              <a:gd name="connsiteX11" fmla="*/ 819855 w 2643893"/>
              <a:gd name="connsiteY11" fmla="*/ 239596 h 2601796"/>
              <a:gd name="connsiteX12" fmla="*/ 838905 w 2643893"/>
              <a:gd name="connsiteY12" fmla="*/ 234833 h 2601796"/>
              <a:gd name="connsiteX13" fmla="*/ 896055 w 2643893"/>
              <a:gd name="connsiteY13" fmla="*/ 215783 h 2601796"/>
              <a:gd name="connsiteX14" fmla="*/ 910343 w 2643893"/>
              <a:gd name="connsiteY14" fmla="*/ 206258 h 2601796"/>
              <a:gd name="connsiteX15" fmla="*/ 924630 w 2643893"/>
              <a:gd name="connsiteY15" fmla="*/ 201496 h 2601796"/>
              <a:gd name="connsiteX16" fmla="*/ 938918 w 2643893"/>
              <a:gd name="connsiteY16" fmla="*/ 191971 h 2601796"/>
              <a:gd name="connsiteX17" fmla="*/ 977018 w 2643893"/>
              <a:gd name="connsiteY17" fmla="*/ 182446 h 2601796"/>
              <a:gd name="connsiteX18" fmla="*/ 1010355 w 2643893"/>
              <a:gd name="connsiteY18" fmla="*/ 172921 h 2601796"/>
              <a:gd name="connsiteX19" fmla="*/ 1053218 w 2643893"/>
              <a:gd name="connsiteY19" fmla="*/ 168158 h 2601796"/>
              <a:gd name="connsiteX20" fmla="*/ 1067505 w 2643893"/>
              <a:gd name="connsiteY20" fmla="*/ 158633 h 2601796"/>
              <a:gd name="connsiteX21" fmla="*/ 1105605 w 2643893"/>
              <a:gd name="connsiteY21" fmla="*/ 149108 h 2601796"/>
              <a:gd name="connsiteX22" fmla="*/ 1134180 w 2643893"/>
              <a:gd name="connsiteY22" fmla="*/ 134821 h 2601796"/>
              <a:gd name="connsiteX23" fmla="*/ 1148468 w 2643893"/>
              <a:gd name="connsiteY23" fmla="*/ 125296 h 2601796"/>
              <a:gd name="connsiteX24" fmla="*/ 1196093 w 2643893"/>
              <a:gd name="connsiteY24" fmla="*/ 111008 h 2601796"/>
              <a:gd name="connsiteX25" fmla="*/ 1224668 w 2643893"/>
              <a:gd name="connsiteY25" fmla="*/ 106246 h 2601796"/>
              <a:gd name="connsiteX26" fmla="*/ 1253243 w 2643893"/>
              <a:gd name="connsiteY26" fmla="*/ 96721 h 2601796"/>
              <a:gd name="connsiteX27" fmla="*/ 1329443 w 2643893"/>
              <a:gd name="connsiteY27" fmla="*/ 87196 h 2601796"/>
              <a:gd name="connsiteX28" fmla="*/ 1372305 w 2643893"/>
              <a:gd name="connsiteY28" fmla="*/ 77671 h 2601796"/>
              <a:gd name="connsiteX29" fmla="*/ 1415168 w 2643893"/>
              <a:gd name="connsiteY29" fmla="*/ 72908 h 2601796"/>
              <a:gd name="connsiteX30" fmla="*/ 1453268 w 2643893"/>
              <a:gd name="connsiteY30" fmla="*/ 63383 h 2601796"/>
              <a:gd name="connsiteX31" fmla="*/ 1524705 w 2643893"/>
              <a:gd name="connsiteY31" fmla="*/ 53858 h 2601796"/>
              <a:gd name="connsiteX32" fmla="*/ 1605668 w 2643893"/>
              <a:gd name="connsiteY32" fmla="*/ 39571 h 2601796"/>
              <a:gd name="connsiteX33" fmla="*/ 1705680 w 2643893"/>
              <a:gd name="connsiteY33" fmla="*/ 30046 h 2601796"/>
              <a:gd name="connsiteX34" fmla="*/ 1881893 w 2643893"/>
              <a:gd name="connsiteY34" fmla="*/ 20521 h 2601796"/>
              <a:gd name="connsiteX35" fmla="*/ 2329568 w 2643893"/>
              <a:gd name="connsiteY35" fmla="*/ 20521 h 2601796"/>
              <a:gd name="connsiteX36" fmla="*/ 2358143 w 2643893"/>
              <a:gd name="connsiteY36" fmla="*/ 30046 h 2601796"/>
              <a:gd name="connsiteX37" fmla="*/ 2386718 w 2643893"/>
              <a:gd name="connsiteY37" fmla="*/ 39571 h 2601796"/>
              <a:gd name="connsiteX38" fmla="*/ 2577218 w 2643893"/>
              <a:gd name="connsiteY38" fmla="*/ 44333 h 2601796"/>
              <a:gd name="connsiteX39" fmla="*/ 2615318 w 2643893"/>
              <a:gd name="connsiteY39" fmla="*/ 53858 h 2601796"/>
              <a:gd name="connsiteX40" fmla="*/ 2629605 w 2643893"/>
              <a:gd name="connsiteY40" fmla="*/ 63383 h 2601796"/>
              <a:gd name="connsiteX41" fmla="*/ 2643893 w 2643893"/>
              <a:gd name="connsiteY41" fmla="*/ 68146 h 2601796"/>
              <a:gd name="connsiteX42" fmla="*/ 2639130 w 2643893"/>
              <a:gd name="connsiteY42" fmla="*/ 2597033 h 2601796"/>
              <a:gd name="connsiteX43" fmla="*/ 705 w 2643893"/>
              <a:gd name="connsiteY43" fmla="*/ 2601796 h 2601796"/>
              <a:gd name="connsiteX44" fmla="*/ 705 w 2643893"/>
              <a:gd name="connsiteY44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53168 w 2643893"/>
              <a:gd name="connsiteY6" fmla="*/ 339608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38905 w 2643893"/>
              <a:gd name="connsiteY11" fmla="*/ 234833 h 2601796"/>
              <a:gd name="connsiteX12" fmla="*/ 896055 w 2643893"/>
              <a:gd name="connsiteY12" fmla="*/ 215783 h 2601796"/>
              <a:gd name="connsiteX13" fmla="*/ 910343 w 2643893"/>
              <a:gd name="connsiteY13" fmla="*/ 206258 h 2601796"/>
              <a:gd name="connsiteX14" fmla="*/ 924630 w 2643893"/>
              <a:gd name="connsiteY14" fmla="*/ 201496 h 2601796"/>
              <a:gd name="connsiteX15" fmla="*/ 938918 w 2643893"/>
              <a:gd name="connsiteY15" fmla="*/ 191971 h 2601796"/>
              <a:gd name="connsiteX16" fmla="*/ 977018 w 2643893"/>
              <a:gd name="connsiteY16" fmla="*/ 182446 h 2601796"/>
              <a:gd name="connsiteX17" fmla="*/ 1010355 w 2643893"/>
              <a:gd name="connsiteY17" fmla="*/ 172921 h 2601796"/>
              <a:gd name="connsiteX18" fmla="*/ 1053218 w 2643893"/>
              <a:gd name="connsiteY18" fmla="*/ 168158 h 2601796"/>
              <a:gd name="connsiteX19" fmla="*/ 1067505 w 2643893"/>
              <a:gd name="connsiteY19" fmla="*/ 158633 h 2601796"/>
              <a:gd name="connsiteX20" fmla="*/ 1105605 w 2643893"/>
              <a:gd name="connsiteY20" fmla="*/ 149108 h 2601796"/>
              <a:gd name="connsiteX21" fmla="*/ 1134180 w 2643893"/>
              <a:gd name="connsiteY21" fmla="*/ 134821 h 2601796"/>
              <a:gd name="connsiteX22" fmla="*/ 1148468 w 2643893"/>
              <a:gd name="connsiteY22" fmla="*/ 125296 h 2601796"/>
              <a:gd name="connsiteX23" fmla="*/ 1196093 w 2643893"/>
              <a:gd name="connsiteY23" fmla="*/ 111008 h 2601796"/>
              <a:gd name="connsiteX24" fmla="*/ 1224668 w 2643893"/>
              <a:gd name="connsiteY24" fmla="*/ 106246 h 2601796"/>
              <a:gd name="connsiteX25" fmla="*/ 1253243 w 2643893"/>
              <a:gd name="connsiteY25" fmla="*/ 96721 h 2601796"/>
              <a:gd name="connsiteX26" fmla="*/ 1329443 w 2643893"/>
              <a:gd name="connsiteY26" fmla="*/ 87196 h 2601796"/>
              <a:gd name="connsiteX27" fmla="*/ 1372305 w 2643893"/>
              <a:gd name="connsiteY27" fmla="*/ 77671 h 2601796"/>
              <a:gd name="connsiteX28" fmla="*/ 1415168 w 2643893"/>
              <a:gd name="connsiteY28" fmla="*/ 72908 h 2601796"/>
              <a:gd name="connsiteX29" fmla="*/ 1453268 w 2643893"/>
              <a:gd name="connsiteY29" fmla="*/ 63383 h 2601796"/>
              <a:gd name="connsiteX30" fmla="*/ 1524705 w 2643893"/>
              <a:gd name="connsiteY30" fmla="*/ 53858 h 2601796"/>
              <a:gd name="connsiteX31" fmla="*/ 1605668 w 2643893"/>
              <a:gd name="connsiteY31" fmla="*/ 39571 h 2601796"/>
              <a:gd name="connsiteX32" fmla="*/ 1705680 w 2643893"/>
              <a:gd name="connsiteY32" fmla="*/ 30046 h 2601796"/>
              <a:gd name="connsiteX33" fmla="*/ 1881893 w 2643893"/>
              <a:gd name="connsiteY33" fmla="*/ 20521 h 2601796"/>
              <a:gd name="connsiteX34" fmla="*/ 2329568 w 2643893"/>
              <a:gd name="connsiteY34" fmla="*/ 20521 h 2601796"/>
              <a:gd name="connsiteX35" fmla="*/ 2358143 w 2643893"/>
              <a:gd name="connsiteY35" fmla="*/ 30046 h 2601796"/>
              <a:gd name="connsiteX36" fmla="*/ 2386718 w 2643893"/>
              <a:gd name="connsiteY36" fmla="*/ 39571 h 2601796"/>
              <a:gd name="connsiteX37" fmla="*/ 2577218 w 2643893"/>
              <a:gd name="connsiteY37" fmla="*/ 44333 h 2601796"/>
              <a:gd name="connsiteX38" fmla="*/ 2615318 w 2643893"/>
              <a:gd name="connsiteY38" fmla="*/ 53858 h 2601796"/>
              <a:gd name="connsiteX39" fmla="*/ 2629605 w 2643893"/>
              <a:gd name="connsiteY39" fmla="*/ 63383 h 2601796"/>
              <a:gd name="connsiteX40" fmla="*/ 2643893 w 2643893"/>
              <a:gd name="connsiteY40" fmla="*/ 68146 h 2601796"/>
              <a:gd name="connsiteX41" fmla="*/ 2639130 w 2643893"/>
              <a:gd name="connsiteY41" fmla="*/ 2597033 h 2601796"/>
              <a:gd name="connsiteX42" fmla="*/ 705 w 2643893"/>
              <a:gd name="connsiteY42" fmla="*/ 2601796 h 2601796"/>
              <a:gd name="connsiteX43" fmla="*/ 705 w 2643893"/>
              <a:gd name="connsiteY43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38905 w 2643893"/>
              <a:gd name="connsiteY11" fmla="*/ 234833 h 2601796"/>
              <a:gd name="connsiteX12" fmla="*/ 896055 w 2643893"/>
              <a:gd name="connsiteY12" fmla="*/ 215783 h 2601796"/>
              <a:gd name="connsiteX13" fmla="*/ 910343 w 2643893"/>
              <a:gd name="connsiteY13" fmla="*/ 206258 h 2601796"/>
              <a:gd name="connsiteX14" fmla="*/ 924630 w 2643893"/>
              <a:gd name="connsiteY14" fmla="*/ 201496 h 2601796"/>
              <a:gd name="connsiteX15" fmla="*/ 938918 w 2643893"/>
              <a:gd name="connsiteY15" fmla="*/ 191971 h 2601796"/>
              <a:gd name="connsiteX16" fmla="*/ 977018 w 2643893"/>
              <a:gd name="connsiteY16" fmla="*/ 182446 h 2601796"/>
              <a:gd name="connsiteX17" fmla="*/ 1010355 w 2643893"/>
              <a:gd name="connsiteY17" fmla="*/ 172921 h 2601796"/>
              <a:gd name="connsiteX18" fmla="*/ 1053218 w 2643893"/>
              <a:gd name="connsiteY18" fmla="*/ 168158 h 2601796"/>
              <a:gd name="connsiteX19" fmla="*/ 1067505 w 2643893"/>
              <a:gd name="connsiteY19" fmla="*/ 158633 h 2601796"/>
              <a:gd name="connsiteX20" fmla="*/ 1105605 w 2643893"/>
              <a:gd name="connsiteY20" fmla="*/ 149108 h 2601796"/>
              <a:gd name="connsiteX21" fmla="*/ 1134180 w 2643893"/>
              <a:gd name="connsiteY21" fmla="*/ 134821 h 2601796"/>
              <a:gd name="connsiteX22" fmla="*/ 1148468 w 2643893"/>
              <a:gd name="connsiteY22" fmla="*/ 125296 h 2601796"/>
              <a:gd name="connsiteX23" fmla="*/ 1196093 w 2643893"/>
              <a:gd name="connsiteY23" fmla="*/ 111008 h 2601796"/>
              <a:gd name="connsiteX24" fmla="*/ 1224668 w 2643893"/>
              <a:gd name="connsiteY24" fmla="*/ 106246 h 2601796"/>
              <a:gd name="connsiteX25" fmla="*/ 1253243 w 2643893"/>
              <a:gd name="connsiteY25" fmla="*/ 96721 h 2601796"/>
              <a:gd name="connsiteX26" fmla="*/ 1329443 w 2643893"/>
              <a:gd name="connsiteY26" fmla="*/ 87196 h 2601796"/>
              <a:gd name="connsiteX27" fmla="*/ 1372305 w 2643893"/>
              <a:gd name="connsiteY27" fmla="*/ 77671 h 2601796"/>
              <a:gd name="connsiteX28" fmla="*/ 1415168 w 2643893"/>
              <a:gd name="connsiteY28" fmla="*/ 72908 h 2601796"/>
              <a:gd name="connsiteX29" fmla="*/ 1453268 w 2643893"/>
              <a:gd name="connsiteY29" fmla="*/ 63383 h 2601796"/>
              <a:gd name="connsiteX30" fmla="*/ 1524705 w 2643893"/>
              <a:gd name="connsiteY30" fmla="*/ 53858 h 2601796"/>
              <a:gd name="connsiteX31" fmla="*/ 1605668 w 2643893"/>
              <a:gd name="connsiteY31" fmla="*/ 39571 h 2601796"/>
              <a:gd name="connsiteX32" fmla="*/ 1705680 w 2643893"/>
              <a:gd name="connsiteY32" fmla="*/ 30046 h 2601796"/>
              <a:gd name="connsiteX33" fmla="*/ 1881893 w 2643893"/>
              <a:gd name="connsiteY33" fmla="*/ 20521 h 2601796"/>
              <a:gd name="connsiteX34" fmla="*/ 2329568 w 2643893"/>
              <a:gd name="connsiteY34" fmla="*/ 20521 h 2601796"/>
              <a:gd name="connsiteX35" fmla="*/ 2358143 w 2643893"/>
              <a:gd name="connsiteY35" fmla="*/ 30046 h 2601796"/>
              <a:gd name="connsiteX36" fmla="*/ 2386718 w 2643893"/>
              <a:gd name="connsiteY36" fmla="*/ 39571 h 2601796"/>
              <a:gd name="connsiteX37" fmla="*/ 2577218 w 2643893"/>
              <a:gd name="connsiteY37" fmla="*/ 44333 h 2601796"/>
              <a:gd name="connsiteX38" fmla="*/ 2615318 w 2643893"/>
              <a:gd name="connsiteY38" fmla="*/ 53858 h 2601796"/>
              <a:gd name="connsiteX39" fmla="*/ 2629605 w 2643893"/>
              <a:gd name="connsiteY39" fmla="*/ 63383 h 2601796"/>
              <a:gd name="connsiteX40" fmla="*/ 2643893 w 2643893"/>
              <a:gd name="connsiteY40" fmla="*/ 68146 h 2601796"/>
              <a:gd name="connsiteX41" fmla="*/ 2639130 w 2643893"/>
              <a:gd name="connsiteY41" fmla="*/ 2597033 h 2601796"/>
              <a:gd name="connsiteX42" fmla="*/ 705 w 2643893"/>
              <a:gd name="connsiteY42" fmla="*/ 2601796 h 2601796"/>
              <a:gd name="connsiteX43" fmla="*/ 705 w 2643893"/>
              <a:gd name="connsiteY43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96055 w 2643893"/>
              <a:gd name="connsiteY11" fmla="*/ 215783 h 2601796"/>
              <a:gd name="connsiteX12" fmla="*/ 910343 w 2643893"/>
              <a:gd name="connsiteY12" fmla="*/ 206258 h 2601796"/>
              <a:gd name="connsiteX13" fmla="*/ 924630 w 2643893"/>
              <a:gd name="connsiteY13" fmla="*/ 201496 h 2601796"/>
              <a:gd name="connsiteX14" fmla="*/ 938918 w 2643893"/>
              <a:gd name="connsiteY14" fmla="*/ 191971 h 2601796"/>
              <a:gd name="connsiteX15" fmla="*/ 977018 w 2643893"/>
              <a:gd name="connsiteY15" fmla="*/ 182446 h 2601796"/>
              <a:gd name="connsiteX16" fmla="*/ 1010355 w 2643893"/>
              <a:gd name="connsiteY16" fmla="*/ 172921 h 2601796"/>
              <a:gd name="connsiteX17" fmla="*/ 1053218 w 2643893"/>
              <a:gd name="connsiteY17" fmla="*/ 168158 h 2601796"/>
              <a:gd name="connsiteX18" fmla="*/ 1067505 w 2643893"/>
              <a:gd name="connsiteY18" fmla="*/ 158633 h 2601796"/>
              <a:gd name="connsiteX19" fmla="*/ 1105605 w 2643893"/>
              <a:gd name="connsiteY19" fmla="*/ 149108 h 2601796"/>
              <a:gd name="connsiteX20" fmla="*/ 1134180 w 2643893"/>
              <a:gd name="connsiteY20" fmla="*/ 134821 h 2601796"/>
              <a:gd name="connsiteX21" fmla="*/ 1148468 w 2643893"/>
              <a:gd name="connsiteY21" fmla="*/ 125296 h 2601796"/>
              <a:gd name="connsiteX22" fmla="*/ 1196093 w 2643893"/>
              <a:gd name="connsiteY22" fmla="*/ 111008 h 2601796"/>
              <a:gd name="connsiteX23" fmla="*/ 1224668 w 2643893"/>
              <a:gd name="connsiteY23" fmla="*/ 106246 h 2601796"/>
              <a:gd name="connsiteX24" fmla="*/ 1253243 w 2643893"/>
              <a:gd name="connsiteY24" fmla="*/ 96721 h 2601796"/>
              <a:gd name="connsiteX25" fmla="*/ 1329443 w 2643893"/>
              <a:gd name="connsiteY25" fmla="*/ 87196 h 2601796"/>
              <a:gd name="connsiteX26" fmla="*/ 1372305 w 2643893"/>
              <a:gd name="connsiteY26" fmla="*/ 77671 h 2601796"/>
              <a:gd name="connsiteX27" fmla="*/ 1415168 w 2643893"/>
              <a:gd name="connsiteY27" fmla="*/ 72908 h 2601796"/>
              <a:gd name="connsiteX28" fmla="*/ 1453268 w 2643893"/>
              <a:gd name="connsiteY28" fmla="*/ 63383 h 2601796"/>
              <a:gd name="connsiteX29" fmla="*/ 1524705 w 2643893"/>
              <a:gd name="connsiteY29" fmla="*/ 53858 h 2601796"/>
              <a:gd name="connsiteX30" fmla="*/ 1605668 w 2643893"/>
              <a:gd name="connsiteY30" fmla="*/ 39571 h 2601796"/>
              <a:gd name="connsiteX31" fmla="*/ 1705680 w 2643893"/>
              <a:gd name="connsiteY31" fmla="*/ 30046 h 2601796"/>
              <a:gd name="connsiteX32" fmla="*/ 1881893 w 2643893"/>
              <a:gd name="connsiteY32" fmla="*/ 20521 h 2601796"/>
              <a:gd name="connsiteX33" fmla="*/ 2329568 w 2643893"/>
              <a:gd name="connsiteY33" fmla="*/ 20521 h 2601796"/>
              <a:gd name="connsiteX34" fmla="*/ 2358143 w 2643893"/>
              <a:gd name="connsiteY34" fmla="*/ 30046 h 2601796"/>
              <a:gd name="connsiteX35" fmla="*/ 2386718 w 2643893"/>
              <a:gd name="connsiteY35" fmla="*/ 39571 h 2601796"/>
              <a:gd name="connsiteX36" fmla="*/ 2577218 w 2643893"/>
              <a:gd name="connsiteY36" fmla="*/ 44333 h 2601796"/>
              <a:gd name="connsiteX37" fmla="*/ 2615318 w 2643893"/>
              <a:gd name="connsiteY37" fmla="*/ 53858 h 2601796"/>
              <a:gd name="connsiteX38" fmla="*/ 2629605 w 2643893"/>
              <a:gd name="connsiteY38" fmla="*/ 63383 h 2601796"/>
              <a:gd name="connsiteX39" fmla="*/ 2643893 w 2643893"/>
              <a:gd name="connsiteY39" fmla="*/ 68146 h 2601796"/>
              <a:gd name="connsiteX40" fmla="*/ 2639130 w 2643893"/>
              <a:gd name="connsiteY40" fmla="*/ 2597033 h 2601796"/>
              <a:gd name="connsiteX41" fmla="*/ 705 w 2643893"/>
              <a:gd name="connsiteY41" fmla="*/ 2601796 h 2601796"/>
              <a:gd name="connsiteX42" fmla="*/ 705 w 2643893"/>
              <a:gd name="connsiteY42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96055 w 2643893"/>
              <a:gd name="connsiteY11" fmla="*/ 215783 h 2601796"/>
              <a:gd name="connsiteX12" fmla="*/ 910343 w 2643893"/>
              <a:gd name="connsiteY12" fmla="*/ 206258 h 2601796"/>
              <a:gd name="connsiteX13" fmla="*/ 924630 w 2643893"/>
              <a:gd name="connsiteY13" fmla="*/ 201496 h 2601796"/>
              <a:gd name="connsiteX14" fmla="*/ 938918 w 2643893"/>
              <a:gd name="connsiteY14" fmla="*/ 191971 h 2601796"/>
              <a:gd name="connsiteX15" fmla="*/ 1010355 w 2643893"/>
              <a:gd name="connsiteY15" fmla="*/ 172921 h 2601796"/>
              <a:gd name="connsiteX16" fmla="*/ 1053218 w 2643893"/>
              <a:gd name="connsiteY16" fmla="*/ 168158 h 2601796"/>
              <a:gd name="connsiteX17" fmla="*/ 1067505 w 2643893"/>
              <a:gd name="connsiteY17" fmla="*/ 158633 h 2601796"/>
              <a:gd name="connsiteX18" fmla="*/ 1105605 w 2643893"/>
              <a:gd name="connsiteY18" fmla="*/ 149108 h 2601796"/>
              <a:gd name="connsiteX19" fmla="*/ 1134180 w 2643893"/>
              <a:gd name="connsiteY19" fmla="*/ 134821 h 2601796"/>
              <a:gd name="connsiteX20" fmla="*/ 1148468 w 2643893"/>
              <a:gd name="connsiteY20" fmla="*/ 125296 h 2601796"/>
              <a:gd name="connsiteX21" fmla="*/ 1196093 w 2643893"/>
              <a:gd name="connsiteY21" fmla="*/ 111008 h 2601796"/>
              <a:gd name="connsiteX22" fmla="*/ 1224668 w 2643893"/>
              <a:gd name="connsiteY22" fmla="*/ 106246 h 2601796"/>
              <a:gd name="connsiteX23" fmla="*/ 1253243 w 2643893"/>
              <a:gd name="connsiteY23" fmla="*/ 96721 h 2601796"/>
              <a:gd name="connsiteX24" fmla="*/ 1329443 w 2643893"/>
              <a:gd name="connsiteY24" fmla="*/ 87196 h 2601796"/>
              <a:gd name="connsiteX25" fmla="*/ 1372305 w 2643893"/>
              <a:gd name="connsiteY25" fmla="*/ 77671 h 2601796"/>
              <a:gd name="connsiteX26" fmla="*/ 1415168 w 2643893"/>
              <a:gd name="connsiteY26" fmla="*/ 72908 h 2601796"/>
              <a:gd name="connsiteX27" fmla="*/ 1453268 w 2643893"/>
              <a:gd name="connsiteY27" fmla="*/ 63383 h 2601796"/>
              <a:gd name="connsiteX28" fmla="*/ 1524705 w 2643893"/>
              <a:gd name="connsiteY28" fmla="*/ 53858 h 2601796"/>
              <a:gd name="connsiteX29" fmla="*/ 1605668 w 2643893"/>
              <a:gd name="connsiteY29" fmla="*/ 39571 h 2601796"/>
              <a:gd name="connsiteX30" fmla="*/ 1705680 w 2643893"/>
              <a:gd name="connsiteY30" fmla="*/ 30046 h 2601796"/>
              <a:gd name="connsiteX31" fmla="*/ 1881893 w 2643893"/>
              <a:gd name="connsiteY31" fmla="*/ 20521 h 2601796"/>
              <a:gd name="connsiteX32" fmla="*/ 2329568 w 2643893"/>
              <a:gd name="connsiteY32" fmla="*/ 20521 h 2601796"/>
              <a:gd name="connsiteX33" fmla="*/ 2358143 w 2643893"/>
              <a:gd name="connsiteY33" fmla="*/ 30046 h 2601796"/>
              <a:gd name="connsiteX34" fmla="*/ 2386718 w 2643893"/>
              <a:gd name="connsiteY34" fmla="*/ 39571 h 2601796"/>
              <a:gd name="connsiteX35" fmla="*/ 2577218 w 2643893"/>
              <a:gd name="connsiteY35" fmla="*/ 44333 h 2601796"/>
              <a:gd name="connsiteX36" fmla="*/ 2615318 w 2643893"/>
              <a:gd name="connsiteY36" fmla="*/ 53858 h 2601796"/>
              <a:gd name="connsiteX37" fmla="*/ 2629605 w 2643893"/>
              <a:gd name="connsiteY37" fmla="*/ 63383 h 2601796"/>
              <a:gd name="connsiteX38" fmla="*/ 2643893 w 2643893"/>
              <a:gd name="connsiteY38" fmla="*/ 68146 h 2601796"/>
              <a:gd name="connsiteX39" fmla="*/ 2639130 w 2643893"/>
              <a:gd name="connsiteY39" fmla="*/ 2597033 h 2601796"/>
              <a:gd name="connsiteX40" fmla="*/ 705 w 2643893"/>
              <a:gd name="connsiteY40" fmla="*/ 2601796 h 2601796"/>
              <a:gd name="connsiteX41" fmla="*/ 705 w 2643893"/>
              <a:gd name="connsiteY41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96055 w 2643893"/>
              <a:gd name="connsiteY11" fmla="*/ 215783 h 2601796"/>
              <a:gd name="connsiteX12" fmla="*/ 910343 w 2643893"/>
              <a:gd name="connsiteY12" fmla="*/ 206258 h 2601796"/>
              <a:gd name="connsiteX13" fmla="*/ 924630 w 2643893"/>
              <a:gd name="connsiteY13" fmla="*/ 201496 h 2601796"/>
              <a:gd name="connsiteX14" fmla="*/ 938918 w 2643893"/>
              <a:gd name="connsiteY14" fmla="*/ 191971 h 2601796"/>
              <a:gd name="connsiteX15" fmla="*/ 1010355 w 2643893"/>
              <a:gd name="connsiteY15" fmla="*/ 172921 h 2601796"/>
              <a:gd name="connsiteX16" fmla="*/ 1053218 w 2643893"/>
              <a:gd name="connsiteY16" fmla="*/ 168158 h 2601796"/>
              <a:gd name="connsiteX17" fmla="*/ 1067505 w 2643893"/>
              <a:gd name="connsiteY17" fmla="*/ 158633 h 2601796"/>
              <a:gd name="connsiteX18" fmla="*/ 1134180 w 2643893"/>
              <a:gd name="connsiteY18" fmla="*/ 134821 h 2601796"/>
              <a:gd name="connsiteX19" fmla="*/ 1148468 w 2643893"/>
              <a:gd name="connsiteY19" fmla="*/ 125296 h 2601796"/>
              <a:gd name="connsiteX20" fmla="*/ 1196093 w 2643893"/>
              <a:gd name="connsiteY20" fmla="*/ 111008 h 2601796"/>
              <a:gd name="connsiteX21" fmla="*/ 1224668 w 2643893"/>
              <a:gd name="connsiteY21" fmla="*/ 106246 h 2601796"/>
              <a:gd name="connsiteX22" fmla="*/ 1253243 w 2643893"/>
              <a:gd name="connsiteY22" fmla="*/ 96721 h 2601796"/>
              <a:gd name="connsiteX23" fmla="*/ 1329443 w 2643893"/>
              <a:gd name="connsiteY23" fmla="*/ 87196 h 2601796"/>
              <a:gd name="connsiteX24" fmla="*/ 1372305 w 2643893"/>
              <a:gd name="connsiteY24" fmla="*/ 77671 h 2601796"/>
              <a:gd name="connsiteX25" fmla="*/ 1415168 w 2643893"/>
              <a:gd name="connsiteY25" fmla="*/ 72908 h 2601796"/>
              <a:gd name="connsiteX26" fmla="*/ 1453268 w 2643893"/>
              <a:gd name="connsiteY26" fmla="*/ 63383 h 2601796"/>
              <a:gd name="connsiteX27" fmla="*/ 1524705 w 2643893"/>
              <a:gd name="connsiteY27" fmla="*/ 53858 h 2601796"/>
              <a:gd name="connsiteX28" fmla="*/ 1605668 w 2643893"/>
              <a:gd name="connsiteY28" fmla="*/ 39571 h 2601796"/>
              <a:gd name="connsiteX29" fmla="*/ 1705680 w 2643893"/>
              <a:gd name="connsiteY29" fmla="*/ 30046 h 2601796"/>
              <a:gd name="connsiteX30" fmla="*/ 1881893 w 2643893"/>
              <a:gd name="connsiteY30" fmla="*/ 20521 h 2601796"/>
              <a:gd name="connsiteX31" fmla="*/ 2329568 w 2643893"/>
              <a:gd name="connsiteY31" fmla="*/ 20521 h 2601796"/>
              <a:gd name="connsiteX32" fmla="*/ 2358143 w 2643893"/>
              <a:gd name="connsiteY32" fmla="*/ 30046 h 2601796"/>
              <a:gd name="connsiteX33" fmla="*/ 2386718 w 2643893"/>
              <a:gd name="connsiteY33" fmla="*/ 39571 h 2601796"/>
              <a:gd name="connsiteX34" fmla="*/ 2577218 w 2643893"/>
              <a:gd name="connsiteY34" fmla="*/ 44333 h 2601796"/>
              <a:gd name="connsiteX35" fmla="*/ 2615318 w 2643893"/>
              <a:gd name="connsiteY35" fmla="*/ 53858 h 2601796"/>
              <a:gd name="connsiteX36" fmla="*/ 2629605 w 2643893"/>
              <a:gd name="connsiteY36" fmla="*/ 63383 h 2601796"/>
              <a:gd name="connsiteX37" fmla="*/ 2643893 w 2643893"/>
              <a:gd name="connsiteY37" fmla="*/ 68146 h 2601796"/>
              <a:gd name="connsiteX38" fmla="*/ 2639130 w 2643893"/>
              <a:gd name="connsiteY38" fmla="*/ 2597033 h 2601796"/>
              <a:gd name="connsiteX39" fmla="*/ 705 w 2643893"/>
              <a:gd name="connsiteY39" fmla="*/ 2601796 h 2601796"/>
              <a:gd name="connsiteX40" fmla="*/ 705 w 2643893"/>
              <a:gd name="connsiteY40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96055 w 2643893"/>
              <a:gd name="connsiteY11" fmla="*/ 215783 h 2601796"/>
              <a:gd name="connsiteX12" fmla="*/ 910343 w 2643893"/>
              <a:gd name="connsiteY12" fmla="*/ 206258 h 2601796"/>
              <a:gd name="connsiteX13" fmla="*/ 924630 w 2643893"/>
              <a:gd name="connsiteY13" fmla="*/ 201496 h 2601796"/>
              <a:gd name="connsiteX14" fmla="*/ 938918 w 2643893"/>
              <a:gd name="connsiteY14" fmla="*/ 191971 h 2601796"/>
              <a:gd name="connsiteX15" fmla="*/ 1010355 w 2643893"/>
              <a:gd name="connsiteY15" fmla="*/ 172921 h 2601796"/>
              <a:gd name="connsiteX16" fmla="*/ 1053218 w 2643893"/>
              <a:gd name="connsiteY16" fmla="*/ 168158 h 2601796"/>
              <a:gd name="connsiteX17" fmla="*/ 1067505 w 2643893"/>
              <a:gd name="connsiteY17" fmla="*/ 158633 h 2601796"/>
              <a:gd name="connsiteX18" fmla="*/ 1134180 w 2643893"/>
              <a:gd name="connsiteY18" fmla="*/ 134821 h 2601796"/>
              <a:gd name="connsiteX19" fmla="*/ 1148468 w 2643893"/>
              <a:gd name="connsiteY19" fmla="*/ 125296 h 2601796"/>
              <a:gd name="connsiteX20" fmla="*/ 1224668 w 2643893"/>
              <a:gd name="connsiteY20" fmla="*/ 106246 h 2601796"/>
              <a:gd name="connsiteX21" fmla="*/ 1253243 w 2643893"/>
              <a:gd name="connsiteY21" fmla="*/ 96721 h 2601796"/>
              <a:gd name="connsiteX22" fmla="*/ 1329443 w 2643893"/>
              <a:gd name="connsiteY22" fmla="*/ 87196 h 2601796"/>
              <a:gd name="connsiteX23" fmla="*/ 1372305 w 2643893"/>
              <a:gd name="connsiteY23" fmla="*/ 77671 h 2601796"/>
              <a:gd name="connsiteX24" fmla="*/ 1415168 w 2643893"/>
              <a:gd name="connsiteY24" fmla="*/ 72908 h 2601796"/>
              <a:gd name="connsiteX25" fmla="*/ 1453268 w 2643893"/>
              <a:gd name="connsiteY25" fmla="*/ 63383 h 2601796"/>
              <a:gd name="connsiteX26" fmla="*/ 1524705 w 2643893"/>
              <a:gd name="connsiteY26" fmla="*/ 53858 h 2601796"/>
              <a:gd name="connsiteX27" fmla="*/ 1605668 w 2643893"/>
              <a:gd name="connsiteY27" fmla="*/ 39571 h 2601796"/>
              <a:gd name="connsiteX28" fmla="*/ 1705680 w 2643893"/>
              <a:gd name="connsiteY28" fmla="*/ 30046 h 2601796"/>
              <a:gd name="connsiteX29" fmla="*/ 1881893 w 2643893"/>
              <a:gd name="connsiteY29" fmla="*/ 20521 h 2601796"/>
              <a:gd name="connsiteX30" fmla="*/ 2329568 w 2643893"/>
              <a:gd name="connsiteY30" fmla="*/ 20521 h 2601796"/>
              <a:gd name="connsiteX31" fmla="*/ 2358143 w 2643893"/>
              <a:gd name="connsiteY31" fmla="*/ 30046 h 2601796"/>
              <a:gd name="connsiteX32" fmla="*/ 2386718 w 2643893"/>
              <a:gd name="connsiteY32" fmla="*/ 39571 h 2601796"/>
              <a:gd name="connsiteX33" fmla="*/ 2577218 w 2643893"/>
              <a:gd name="connsiteY33" fmla="*/ 44333 h 2601796"/>
              <a:gd name="connsiteX34" fmla="*/ 2615318 w 2643893"/>
              <a:gd name="connsiteY34" fmla="*/ 53858 h 2601796"/>
              <a:gd name="connsiteX35" fmla="*/ 2629605 w 2643893"/>
              <a:gd name="connsiteY35" fmla="*/ 63383 h 2601796"/>
              <a:gd name="connsiteX36" fmla="*/ 2643893 w 2643893"/>
              <a:gd name="connsiteY36" fmla="*/ 68146 h 2601796"/>
              <a:gd name="connsiteX37" fmla="*/ 2639130 w 2643893"/>
              <a:gd name="connsiteY37" fmla="*/ 2597033 h 2601796"/>
              <a:gd name="connsiteX38" fmla="*/ 705 w 2643893"/>
              <a:gd name="connsiteY38" fmla="*/ 2601796 h 2601796"/>
              <a:gd name="connsiteX39" fmla="*/ 705 w 2643893"/>
              <a:gd name="connsiteY39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96055 w 2643893"/>
              <a:gd name="connsiteY11" fmla="*/ 215783 h 2601796"/>
              <a:gd name="connsiteX12" fmla="*/ 910343 w 2643893"/>
              <a:gd name="connsiteY12" fmla="*/ 206258 h 2601796"/>
              <a:gd name="connsiteX13" fmla="*/ 924630 w 2643893"/>
              <a:gd name="connsiteY13" fmla="*/ 201496 h 2601796"/>
              <a:gd name="connsiteX14" fmla="*/ 1010355 w 2643893"/>
              <a:gd name="connsiteY14" fmla="*/ 172921 h 2601796"/>
              <a:gd name="connsiteX15" fmla="*/ 1053218 w 2643893"/>
              <a:gd name="connsiteY15" fmla="*/ 168158 h 2601796"/>
              <a:gd name="connsiteX16" fmla="*/ 1067505 w 2643893"/>
              <a:gd name="connsiteY16" fmla="*/ 158633 h 2601796"/>
              <a:gd name="connsiteX17" fmla="*/ 1134180 w 2643893"/>
              <a:gd name="connsiteY17" fmla="*/ 134821 h 2601796"/>
              <a:gd name="connsiteX18" fmla="*/ 1148468 w 2643893"/>
              <a:gd name="connsiteY18" fmla="*/ 125296 h 2601796"/>
              <a:gd name="connsiteX19" fmla="*/ 1224668 w 2643893"/>
              <a:gd name="connsiteY19" fmla="*/ 106246 h 2601796"/>
              <a:gd name="connsiteX20" fmla="*/ 1253243 w 2643893"/>
              <a:gd name="connsiteY20" fmla="*/ 96721 h 2601796"/>
              <a:gd name="connsiteX21" fmla="*/ 1329443 w 2643893"/>
              <a:gd name="connsiteY21" fmla="*/ 87196 h 2601796"/>
              <a:gd name="connsiteX22" fmla="*/ 1372305 w 2643893"/>
              <a:gd name="connsiteY22" fmla="*/ 77671 h 2601796"/>
              <a:gd name="connsiteX23" fmla="*/ 1415168 w 2643893"/>
              <a:gd name="connsiteY23" fmla="*/ 72908 h 2601796"/>
              <a:gd name="connsiteX24" fmla="*/ 1453268 w 2643893"/>
              <a:gd name="connsiteY24" fmla="*/ 63383 h 2601796"/>
              <a:gd name="connsiteX25" fmla="*/ 1524705 w 2643893"/>
              <a:gd name="connsiteY25" fmla="*/ 53858 h 2601796"/>
              <a:gd name="connsiteX26" fmla="*/ 1605668 w 2643893"/>
              <a:gd name="connsiteY26" fmla="*/ 39571 h 2601796"/>
              <a:gd name="connsiteX27" fmla="*/ 1705680 w 2643893"/>
              <a:gd name="connsiteY27" fmla="*/ 30046 h 2601796"/>
              <a:gd name="connsiteX28" fmla="*/ 1881893 w 2643893"/>
              <a:gd name="connsiteY28" fmla="*/ 20521 h 2601796"/>
              <a:gd name="connsiteX29" fmla="*/ 2329568 w 2643893"/>
              <a:gd name="connsiteY29" fmla="*/ 20521 h 2601796"/>
              <a:gd name="connsiteX30" fmla="*/ 2358143 w 2643893"/>
              <a:gd name="connsiteY30" fmla="*/ 30046 h 2601796"/>
              <a:gd name="connsiteX31" fmla="*/ 2386718 w 2643893"/>
              <a:gd name="connsiteY31" fmla="*/ 39571 h 2601796"/>
              <a:gd name="connsiteX32" fmla="*/ 2577218 w 2643893"/>
              <a:gd name="connsiteY32" fmla="*/ 44333 h 2601796"/>
              <a:gd name="connsiteX33" fmla="*/ 2615318 w 2643893"/>
              <a:gd name="connsiteY33" fmla="*/ 53858 h 2601796"/>
              <a:gd name="connsiteX34" fmla="*/ 2629605 w 2643893"/>
              <a:gd name="connsiteY34" fmla="*/ 63383 h 2601796"/>
              <a:gd name="connsiteX35" fmla="*/ 2643893 w 2643893"/>
              <a:gd name="connsiteY35" fmla="*/ 68146 h 2601796"/>
              <a:gd name="connsiteX36" fmla="*/ 2639130 w 2643893"/>
              <a:gd name="connsiteY36" fmla="*/ 2597033 h 2601796"/>
              <a:gd name="connsiteX37" fmla="*/ 705 w 2643893"/>
              <a:gd name="connsiteY37" fmla="*/ 2601796 h 2601796"/>
              <a:gd name="connsiteX38" fmla="*/ 705 w 2643893"/>
              <a:gd name="connsiteY38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19855 w 2643893"/>
              <a:gd name="connsiteY10" fmla="*/ 239596 h 2601796"/>
              <a:gd name="connsiteX11" fmla="*/ 896055 w 2643893"/>
              <a:gd name="connsiteY11" fmla="*/ 215783 h 2601796"/>
              <a:gd name="connsiteX12" fmla="*/ 910343 w 2643893"/>
              <a:gd name="connsiteY12" fmla="*/ 206258 h 2601796"/>
              <a:gd name="connsiteX13" fmla="*/ 1010355 w 2643893"/>
              <a:gd name="connsiteY13" fmla="*/ 172921 h 2601796"/>
              <a:gd name="connsiteX14" fmla="*/ 1053218 w 2643893"/>
              <a:gd name="connsiteY14" fmla="*/ 168158 h 2601796"/>
              <a:gd name="connsiteX15" fmla="*/ 1067505 w 2643893"/>
              <a:gd name="connsiteY15" fmla="*/ 158633 h 2601796"/>
              <a:gd name="connsiteX16" fmla="*/ 1134180 w 2643893"/>
              <a:gd name="connsiteY16" fmla="*/ 134821 h 2601796"/>
              <a:gd name="connsiteX17" fmla="*/ 1148468 w 2643893"/>
              <a:gd name="connsiteY17" fmla="*/ 125296 h 2601796"/>
              <a:gd name="connsiteX18" fmla="*/ 1224668 w 2643893"/>
              <a:gd name="connsiteY18" fmla="*/ 106246 h 2601796"/>
              <a:gd name="connsiteX19" fmla="*/ 1253243 w 2643893"/>
              <a:gd name="connsiteY19" fmla="*/ 96721 h 2601796"/>
              <a:gd name="connsiteX20" fmla="*/ 1329443 w 2643893"/>
              <a:gd name="connsiteY20" fmla="*/ 87196 h 2601796"/>
              <a:gd name="connsiteX21" fmla="*/ 1372305 w 2643893"/>
              <a:gd name="connsiteY21" fmla="*/ 77671 h 2601796"/>
              <a:gd name="connsiteX22" fmla="*/ 1415168 w 2643893"/>
              <a:gd name="connsiteY22" fmla="*/ 72908 h 2601796"/>
              <a:gd name="connsiteX23" fmla="*/ 1453268 w 2643893"/>
              <a:gd name="connsiteY23" fmla="*/ 63383 h 2601796"/>
              <a:gd name="connsiteX24" fmla="*/ 1524705 w 2643893"/>
              <a:gd name="connsiteY24" fmla="*/ 53858 h 2601796"/>
              <a:gd name="connsiteX25" fmla="*/ 1605668 w 2643893"/>
              <a:gd name="connsiteY25" fmla="*/ 39571 h 2601796"/>
              <a:gd name="connsiteX26" fmla="*/ 1705680 w 2643893"/>
              <a:gd name="connsiteY26" fmla="*/ 30046 h 2601796"/>
              <a:gd name="connsiteX27" fmla="*/ 1881893 w 2643893"/>
              <a:gd name="connsiteY27" fmla="*/ 20521 h 2601796"/>
              <a:gd name="connsiteX28" fmla="*/ 2329568 w 2643893"/>
              <a:gd name="connsiteY28" fmla="*/ 20521 h 2601796"/>
              <a:gd name="connsiteX29" fmla="*/ 2358143 w 2643893"/>
              <a:gd name="connsiteY29" fmla="*/ 30046 h 2601796"/>
              <a:gd name="connsiteX30" fmla="*/ 2386718 w 2643893"/>
              <a:gd name="connsiteY30" fmla="*/ 39571 h 2601796"/>
              <a:gd name="connsiteX31" fmla="*/ 2577218 w 2643893"/>
              <a:gd name="connsiteY31" fmla="*/ 44333 h 2601796"/>
              <a:gd name="connsiteX32" fmla="*/ 2615318 w 2643893"/>
              <a:gd name="connsiteY32" fmla="*/ 53858 h 2601796"/>
              <a:gd name="connsiteX33" fmla="*/ 2629605 w 2643893"/>
              <a:gd name="connsiteY33" fmla="*/ 63383 h 2601796"/>
              <a:gd name="connsiteX34" fmla="*/ 2643893 w 2643893"/>
              <a:gd name="connsiteY34" fmla="*/ 68146 h 2601796"/>
              <a:gd name="connsiteX35" fmla="*/ 2639130 w 2643893"/>
              <a:gd name="connsiteY35" fmla="*/ 2597033 h 2601796"/>
              <a:gd name="connsiteX36" fmla="*/ 705 w 2643893"/>
              <a:gd name="connsiteY36" fmla="*/ 2601796 h 2601796"/>
              <a:gd name="connsiteX37" fmla="*/ 705 w 2643893"/>
              <a:gd name="connsiteY37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10330 w 2643893"/>
              <a:gd name="connsiteY9" fmla="*/ 253883 h 2601796"/>
              <a:gd name="connsiteX10" fmla="*/ 896055 w 2643893"/>
              <a:gd name="connsiteY10" fmla="*/ 215783 h 2601796"/>
              <a:gd name="connsiteX11" fmla="*/ 910343 w 2643893"/>
              <a:gd name="connsiteY11" fmla="*/ 206258 h 2601796"/>
              <a:gd name="connsiteX12" fmla="*/ 1010355 w 2643893"/>
              <a:gd name="connsiteY12" fmla="*/ 172921 h 2601796"/>
              <a:gd name="connsiteX13" fmla="*/ 1053218 w 2643893"/>
              <a:gd name="connsiteY13" fmla="*/ 168158 h 2601796"/>
              <a:gd name="connsiteX14" fmla="*/ 1067505 w 2643893"/>
              <a:gd name="connsiteY14" fmla="*/ 158633 h 2601796"/>
              <a:gd name="connsiteX15" fmla="*/ 1134180 w 2643893"/>
              <a:gd name="connsiteY15" fmla="*/ 134821 h 2601796"/>
              <a:gd name="connsiteX16" fmla="*/ 1148468 w 2643893"/>
              <a:gd name="connsiteY16" fmla="*/ 125296 h 2601796"/>
              <a:gd name="connsiteX17" fmla="*/ 1224668 w 2643893"/>
              <a:gd name="connsiteY17" fmla="*/ 106246 h 2601796"/>
              <a:gd name="connsiteX18" fmla="*/ 1253243 w 2643893"/>
              <a:gd name="connsiteY18" fmla="*/ 96721 h 2601796"/>
              <a:gd name="connsiteX19" fmla="*/ 1329443 w 2643893"/>
              <a:gd name="connsiteY19" fmla="*/ 87196 h 2601796"/>
              <a:gd name="connsiteX20" fmla="*/ 1372305 w 2643893"/>
              <a:gd name="connsiteY20" fmla="*/ 77671 h 2601796"/>
              <a:gd name="connsiteX21" fmla="*/ 1415168 w 2643893"/>
              <a:gd name="connsiteY21" fmla="*/ 72908 h 2601796"/>
              <a:gd name="connsiteX22" fmla="*/ 1453268 w 2643893"/>
              <a:gd name="connsiteY22" fmla="*/ 63383 h 2601796"/>
              <a:gd name="connsiteX23" fmla="*/ 1524705 w 2643893"/>
              <a:gd name="connsiteY23" fmla="*/ 53858 h 2601796"/>
              <a:gd name="connsiteX24" fmla="*/ 1605668 w 2643893"/>
              <a:gd name="connsiteY24" fmla="*/ 39571 h 2601796"/>
              <a:gd name="connsiteX25" fmla="*/ 1705680 w 2643893"/>
              <a:gd name="connsiteY25" fmla="*/ 30046 h 2601796"/>
              <a:gd name="connsiteX26" fmla="*/ 1881893 w 2643893"/>
              <a:gd name="connsiteY26" fmla="*/ 20521 h 2601796"/>
              <a:gd name="connsiteX27" fmla="*/ 2329568 w 2643893"/>
              <a:gd name="connsiteY27" fmla="*/ 20521 h 2601796"/>
              <a:gd name="connsiteX28" fmla="*/ 2358143 w 2643893"/>
              <a:gd name="connsiteY28" fmla="*/ 30046 h 2601796"/>
              <a:gd name="connsiteX29" fmla="*/ 2386718 w 2643893"/>
              <a:gd name="connsiteY29" fmla="*/ 39571 h 2601796"/>
              <a:gd name="connsiteX30" fmla="*/ 2577218 w 2643893"/>
              <a:gd name="connsiteY30" fmla="*/ 44333 h 2601796"/>
              <a:gd name="connsiteX31" fmla="*/ 2615318 w 2643893"/>
              <a:gd name="connsiteY31" fmla="*/ 53858 h 2601796"/>
              <a:gd name="connsiteX32" fmla="*/ 2629605 w 2643893"/>
              <a:gd name="connsiteY32" fmla="*/ 63383 h 2601796"/>
              <a:gd name="connsiteX33" fmla="*/ 2643893 w 2643893"/>
              <a:gd name="connsiteY33" fmla="*/ 68146 h 2601796"/>
              <a:gd name="connsiteX34" fmla="*/ 2639130 w 2643893"/>
              <a:gd name="connsiteY34" fmla="*/ 2597033 h 2601796"/>
              <a:gd name="connsiteX35" fmla="*/ 705 w 2643893"/>
              <a:gd name="connsiteY35" fmla="*/ 2601796 h 2601796"/>
              <a:gd name="connsiteX36" fmla="*/ 705 w 2643893"/>
              <a:gd name="connsiteY36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781755 w 2643893"/>
              <a:gd name="connsiteY8" fmla="*/ 268171 h 2601796"/>
              <a:gd name="connsiteX9" fmla="*/ 896055 w 2643893"/>
              <a:gd name="connsiteY9" fmla="*/ 215783 h 2601796"/>
              <a:gd name="connsiteX10" fmla="*/ 910343 w 2643893"/>
              <a:gd name="connsiteY10" fmla="*/ 206258 h 2601796"/>
              <a:gd name="connsiteX11" fmla="*/ 1010355 w 2643893"/>
              <a:gd name="connsiteY11" fmla="*/ 172921 h 2601796"/>
              <a:gd name="connsiteX12" fmla="*/ 1053218 w 2643893"/>
              <a:gd name="connsiteY12" fmla="*/ 168158 h 2601796"/>
              <a:gd name="connsiteX13" fmla="*/ 1067505 w 2643893"/>
              <a:gd name="connsiteY13" fmla="*/ 158633 h 2601796"/>
              <a:gd name="connsiteX14" fmla="*/ 1134180 w 2643893"/>
              <a:gd name="connsiteY14" fmla="*/ 134821 h 2601796"/>
              <a:gd name="connsiteX15" fmla="*/ 1148468 w 2643893"/>
              <a:gd name="connsiteY15" fmla="*/ 125296 h 2601796"/>
              <a:gd name="connsiteX16" fmla="*/ 1224668 w 2643893"/>
              <a:gd name="connsiteY16" fmla="*/ 106246 h 2601796"/>
              <a:gd name="connsiteX17" fmla="*/ 1253243 w 2643893"/>
              <a:gd name="connsiteY17" fmla="*/ 96721 h 2601796"/>
              <a:gd name="connsiteX18" fmla="*/ 1329443 w 2643893"/>
              <a:gd name="connsiteY18" fmla="*/ 87196 h 2601796"/>
              <a:gd name="connsiteX19" fmla="*/ 1372305 w 2643893"/>
              <a:gd name="connsiteY19" fmla="*/ 77671 h 2601796"/>
              <a:gd name="connsiteX20" fmla="*/ 1415168 w 2643893"/>
              <a:gd name="connsiteY20" fmla="*/ 72908 h 2601796"/>
              <a:gd name="connsiteX21" fmla="*/ 1453268 w 2643893"/>
              <a:gd name="connsiteY21" fmla="*/ 63383 h 2601796"/>
              <a:gd name="connsiteX22" fmla="*/ 1524705 w 2643893"/>
              <a:gd name="connsiteY22" fmla="*/ 53858 h 2601796"/>
              <a:gd name="connsiteX23" fmla="*/ 1605668 w 2643893"/>
              <a:gd name="connsiteY23" fmla="*/ 39571 h 2601796"/>
              <a:gd name="connsiteX24" fmla="*/ 1705680 w 2643893"/>
              <a:gd name="connsiteY24" fmla="*/ 30046 h 2601796"/>
              <a:gd name="connsiteX25" fmla="*/ 1881893 w 2643893"/>
              <a:gd name="connsiteY25" fmla="*/ 20521 h 2601796"/>
              <a:gd name="connsiteX26" fmla="*/ 2329568 w 2643893"/>
              <a:gd name="connsiteY26" fmla="*/ 20521 h 2601796"/>
              <a:gd name="connsiteX27" fmla="*/ 2358143 w 2643893"/>
              <a:gd name="connsiteY27" fmla="*/ 30046 h 2601796"/>
              <a:gd name="connsiteX28" fmla="*/ 2386718 w 2643893"/>
              <a:gd name="connsiteY28" fmla="*/ 39571 h 2601796"/>
              <a:gd name="connsiteX29" fmla="*/ 2577218 w 2643893"/>
              <a:gd name="connsiteY29" fmla="*/ 44333 h 2601796"/>
              <a:gd name="connsiteX30" fmla="*/ 2615318 w 2643893"/>
              <a:gd name="connsiteY30" fmla="*/ 53858 h 2601796"/>
              <a:gd name="connsiteX31" fmla="*/ 2629605 w 2643893"/>
              <a:gd name="connsiteY31" fmla="*/ 63383 h 2601796"/>
              <a:gd name="connsiteX32" fmla="*/ 2643893 w 2643893"/>
              <a:gd name="connsiteY32" fmla="*/ 68146 h 2601796"/>
              <a:gd name="connsiteX33" fmla="*/ 2639130 w 2643893"/>
              <a:gd name="connsiteY33" fmla="*/ 2597033 h 2601796"/>
              <a:gd name="connsiteX34" fmla="*/ 705 w 2643893"/>
              <a:gd name="connsiteY34" fmla="*/ 2601796 h 2601796"/>
              <a:gd name="connsiteX35" fmla="*/ 705 w 2643893"/>
              <a:gd name="connsiteY35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53180 w 2643893"/>
              <a:gd name="connsiteY7" fmla="*/ 282458 h 2601796"/>
              <a:gd name="connsiteX8" fmla="*/ 896055 w 2643893"/>
              <a:gd name="connsiteY8" fmla="*/ 215783 h 2601796"/>
              <a:gd name="connsiteX9" fmla="*/ 910343 w 2643893"/>
              <a:gd name="connsiteY9" fmla="*/ 206258 h 2601796"/>
              <a:gd name="connsiteX10" fmla="*/ 1010355 w 2643893"/>
              <a:gd name="connsiteY10" fmla="*/ 172921 h 2601796"/>
              <a:gd name="connsiteX11" fmla="*/ 1053218 w 2643893"/>
              <a:gd name="connsiteY11" fmla="*/ 168158 h 2601796"/>
              <a:gd name="connsiteX12" fmla="*/ 1067505 w 2643893"/>
              <a:gd name="connsiteY12" fmla="*/ 158633 h 2601796"/>
              <a:gd name="connsiteX13" fmla="*/ 1134180 w 2643893"/>
              <a:gd name="connsiteY13" fmla="*/ 134821 h 2601796"/>
              <a:gd name="connsiteX14" fmla="*/ 1148468 w 2643893"/>
              <a:gd name="connsiteY14" fmla="*/ 125296 h 2601796"/>
              <a:gd name="connsiteX15" fmla="*/ 1224668 w 2643893"/>
              <a:gd name="connsiteY15" fmla="*/ 106246 h 2601796"/>
              <a:gd name="connsiteX16" fmla="*/ 1253243 w 2643893"/>
              <a:gd name="connsiteY16" fmla="*/ 96721 h 2601796"/>
              <a:gd name="connsiteX17" fmla="*/ 1329443 w 2643893"/>
              <a:gd name="connsiteY17" fmla="*/ 87196 h 2601796"/>
              <a:gd name="connsiteX18" fmla="*/ 1372305 w 2643893"/>
              <a:gd name="connsiteY18" fmla="*/ 77671 h 2601796"/>
              <a:gd name="connsiteX19" fmla="*/ 1415168 w 2643893"/>
              <a:gd name="connsiteY19" fmla="*/ 72908 h 2601796"/>
              <a:gd name="connsiteX20" fmla="*/ 1453268 w 2643893"/>
              <a:gd name="connsiteY20" fmla="*/ 63383 h 2601796"/>
              <a:gd name="connsiteX21" fmla="*/ 1524705 w 2643893"/>
              <a:gd name="connsiteY21" fmla="*/ 53858 h 2601796"/>
              <a:gd name="connsiteX22" fmla="*/ 1605668 w 2643893"/>
              <a:gd name="connsiteY22" fmla="*/ 39571 h 2601796"/>
              <a:gd name="connsiteX23" fmla="*/ 1705680 w 2643893"/>
              <a:gd name="connsiteY23" fmla="*/ 30046 h 2601796"/>
              <a:gd name="connsiteX24" fmla="*/ 1881893 w 2643893"/>
              <a:gd name="connsiteY24" fmla="*/ 20521 h 2601796"/>
              <a:gd name="connsiteX25" fmla="*/ 2329568 w 2643893"/>
              <a:gd name="connsiteY25" fmla="*/ 20521 h 2601796"/>
              <a:gd name="connsiteX26" fmla="*/ 2358143 w 2643893"/>
              <a:gd name="connsiteY26" fmla="*/ 30046 h 2601796"/>
              <a:gd name="connsiteX27" fmla="*/ 2386718 w 2643893"/>
              <a:gd name="connsiteY27" fmla="*/ 39571 h 2601796"/>
              <a:gd name="connsiteX28" fmla="*/ 2577218 w 2643893"/>
              <a:gd name="connsiteY28" fmla="*/ 44333 h 2601796"/>
              <a:gd name="connsiteX29" fmla="*/ 2615318 w 2643893"/>
              <a:gd name="connsiteY29" fmla="*/ 53858 h 2601796"/>
              <a:gd name="connsiteX30" fmla="*/ 2629605 w 2643893"/>
              <a:gd name="connsiteY30" fmla="*/ 63383 h 2601796"/>
              <a:gd name="connsiteX31" fmla="*/ 2643893 w 2643893"/>
              <a:gd name="connsiteY31" fmla="*/ 68146 h 2601796"/>
              <a:gd name="connsiteX32" fmla="*/ 2639130 w 2643893"/>
              <a:gd name="connsiteY32" fmla="*/ 2597033 h 2601796"/>
              <a:gd name="connsiteX33" fmla="*/ 705 w 2643893"/>
              <a:gd name="connsiteY33" fmla="*/ 2601796 h 2601796"/>
              <a:gd name="connsiteX34" fmla="*/ 705 w 2643893"/>
              <a:gd name="connsiteY34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896055 w 2643893"/>
              <a:gd name="connsiteY8" fmla="*/ 215783 h 2601796"/>
              <a:gd name="connsiteX9" fmla="*/ 910343 w 2643893"/>
              <a:gd name="connsiteY9" fmla="*/ 206258 h 2601796"/>
              <a:gd name="connsiteX10" fmla="*/ 1010355 w 2643893"/>
              <a:gd name="connsiteY10" fmla="*/ 172921 h 2601796"/>
              <a:gd name="connsiteX11" fmla="*/ 1053218 w 2643893"/>
              <a:gd name="connsiteY11" fmla="*/ 168158 h 2601796"/>
              <a:gd name="connsiteX12" fmla="*/ 1067505 w 2643893"/>
              <a:gd name="connsiteY12" fmla="*/ 158633 h 2601796"/>
              <a:gd name="connsiteX13" fmla="*/ 1134180 w 2643893"/>
              <a:gd name="connsiteY13" fmla="*/ 134821 h 2601796"/>
              <a:gd name="connsiteX14" fmla="*/ 1148468 w 2643893"/>
              <a:gd name="connsiteY14" fmla="*/ 125296 h 2601796"/>
              <a:gd name="connsiteX15" fmla="*/ 1224668 w 2643893"/>
              <a:gd name="connsiteY15" fmla="*/ 106246 h 2601796"/>
              <a:gd name="connsiteX16" fmla="*/ 1253243 w 2643893"/>
              <a:gd name="connsiteY16" fmla="*/ 96721 h 2601796"/>
              <a:gd name="connsiteX17" fmla="*/ 1329443 w 2643893"/>
              <a:gd name="connsiteY17" fmla="*/ 87196 h 2601796"/>
              <a:gd name="connsiteX18" fmla="*/ 1372305 w 2643893"/>
              <a:gd name="connsiteY18" fmla="*/ 77671 h 2601796"/>
              <a:gd name="connsiteX19" fmla="*/ 1415168 w 2643893"/>
              <a:gd name="connsiteY19" fmla="*/ 72908 h 2601796"/>
              <a:gd name="connsiteX20" fmla="*/ 1453268 w 2643893"/>
              <a:gd name="connsiteY20" fmla="*/ 63383 h 2601796"/>
              <a:gd name="connsiteX21" fmla="*/ 1524705 w 2643893"/>
              <a:gd name="connsiteY21" fmla="*/ 53858 h 2601796"/>
              <a:gd name="connsiteX22" fmla="*/ 1605668 w 2643893"/>
              <a:gd name="connsiteY22" fmla="*/ 39571 h 2601796"/>
              <a:gd name="connsiteX23" fmla="*/ 1705680 w 2643893"/>
              <a:gd name="connsiteY23" fmla="*/ 30046 h 2601796"/>
              <a:gd name="connsiteX24" fmla="*/ 1881893 w 2643893"/>
              <a:gd name="connsiteY24" fmla="*/ 20521 h 2601796"/>
              <a:gd name="connsiteX25" fmla="*/ 2329568 w 2643893"/>
              <a:gd name="connsiteY25" fmla="*/ 20521 h 2601796"/>
              <a:gd name="connsiteX26" fmla="*/ 2358143 w 2643893"/>
              <a:gd name="connsiteY26" fmla="*/ 30046 h 2601796"/>
              <a:gd name="connsiteX27" fmla="*/ 2386718 w 2643893"/>
              <a:gd name="connsiteY27" fmla="*/ 39571 h 2601796"/>
              <a:gd name="connsiteX28" fmla="*/ 2577218 w 2643893"/>
              <a:gd name="connsiteY28" fmla="*/ 44333 h 2601796"/>
              <a:gd name="connsiteX29" fmla="*/ 2615318 w 2643893"/>
              <a:gd name="connsiteY29" fmla="*/ 53858 h 2601796"/>
              <a:gd name="connsiteX30" fmla="*/ 2629605 w 2643893"/>
              <a:gd name="connsiteY30" fmla="*/ 63383 h 2601796"/>
              <a:gd name="connsiteX31" fmla="*/ 2643893 w 2643893"/>
              <a:gd name="connsiteY31" fmla="*/ 68146 h 2601796"/>
              <a:gd name="connsiteX32" fmla="*/ 2639130 w 2643893"/>
              <a:gd name="connsiteY32" fmla="*/ 2597033 h 2601796"/>
              <a:gd name="connsiteX33" fmla="*/ 705 w 2643893"/>
              <a:gd name="connsiteY33" fmla="*/ 2601796 h 2601796"/>
              <a:gd name="connsiteX34" fmla="*/ 705 w 2643893"/>
              <a:gd name="connsiteY34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896055 w 2643893"/>
              <a:gd name="connsiteY8" fmla="*/ 215783 h 2601796"/>
              <a:gd name="connsiteX9" fmla="*/ 1010355 w 2643893"/>
              <a:gd name="connsiteY9" fmla="*/ 172921 h 2601796"/>
              <a:gd name="connsiteX10" fmla="*/ 1053218 w 2643893"/>
              <a:gd name="connsiteY10" fmla="*/ 168158 h 2601796"/>
              <a:gd name="connsiteX11" fmla="*/ 1067505 w 2643893"/>
              <a:gd name="connsiteY11" fmla="*/ 158633 h 2601796"/>
              <a:gd name="connsiteX12" fmla="*/ 1134180 w 2643893"/>
              <a:gd name="connsiteY12" fmla="*/ 134821 h 2601796"/>
              <a:gd name="connsiteX13" fmla="*/ 1148468 w 2643893"/>
              <a:gd name="connsiteY13" fmla="*/ 125296 h 2601796"/>
              <a:gd name="connsiteX14" fmla="*/ 1224668 w 2643893"/>
              <a:gd name="connsiteY14" fmla="*/ 106246 h 2601796"/>
              <a:gd name="connsiteX15" fmla="*/ 1253243 w 2643893"/>
              <a:gd name="connsiteY15" fmla="*/ 96721 h 2601796"/>
              <a:gd name="connsiteX16" fmla="*/ 1329443 w 2643893"/>
              <a:gd name="connsiteY16" fmla="*/ 87196 h 2601796"/>
              <a:gd name="connsiteX17" fmla="*/ 1372305 w 2643893"/>
              <a:gd name="connsiteY17" fmla="*/ 77671 h 2601796"/>
              <a:gd name="connsiteX18" fmla="*/ 1415168 w 2643893"/>
              <a:gd name="connsiteY18" fmla="*/ 72908 h 2601796"/>
              <a:gd name="connsiteX19" fmla="*/ 1453268 w 2643893"/>
              <a:gd name="connsiteY19" fmla="*/ 63383 h 2601796"/>
              <a:gd name="connsiteX20" fmla="*/ 1524705 w 2643893"/>
              <a:gd name="connsiteY20" fmla="*/ 53858 h 2601796"/>
              <a:gd name="connsiteX21" fmla="*/ 1605668 w 2643893"/>
              <a:gd name="connsiteY21" fmla="*/ 39571 h 2601796"/>
              <a:gd name="connsiteX22" fmla="*/ 1705680 w 2643893"/>
              <a:gd name="connsiteY22" fmla="*/ 30046 h 2601796"/>
              <a:gd name="connsiteX23" fmla="*/ 1881893 w 2643893"/>
              <a:gd name="connsiteY23" fmla="*/ 20521 h 2601796"/>
              <a:gd name="connsiteX24" fmla="*/ 2329568 w 2643893"/>
              <a:gd name="connsiteY24" fmla="*/ 20521 h 2601796"/>
              <a:gd name="connsiteX25" fmla="*/ 2358143 w 2643893"/>
              <a:gd name="connsiteY25" fmla="*/ 30046 h 2601796"/>
              <a:gd name="connsiteX26" fmla="*/ 2386718 w 2643893"/>
              <a:gd name="connsiteY26" fmla="*/ 39571 h 2601796"/>
              <a:gd name="connsiteX27" fmla="*/ 2577218 w 2643893"/>
              <a:gd name="connsiteY27" fmla="*/ 44333 h 2601796"/>
              <a:gd name="connsiteX28" fmla="*/ 2615318 w 2643893"/>
              <a:gd name="connsiteY28" fmla="*/ 53858 h 2601796"/>
              <a:gd name="connsiteX29" fmla="*/ 2629605 w 2643893"/>
              <a:gd name="connsiteY29" fmla="*/ 63383 h 2601796"/>
              <a:gd name="connsiteX30" fmla="*/ 2643893 w 2643893"/>
              <a:gd name="connsiteY30" fmla="*/ 68146 h 2601796"/>
              <a:gd name="connsiteX31" fmla="*/ 2639130 w 2643893"/>
              <a:gd name="connsiteY31" fmla="*/ 2597033 h 2601796"/>
              <a:gd name="connsiteX32" fmla="*/ 705 w 2643893"/>
              <a:gd name="connsiteY32" fmla="*/ 2601796 h 2601796"/>
              <a:gd name="connsiteX33" fmla="*/ 705 w 2643893"/>
              <a:gd name="connsiteY33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053218 w 2643893"/>
              <a:gd name="connsiteY9" fmla="*/ 168158 h 2601796"/>
              <a:gd name="connsiteX10" fmla="*/ 1067505 w 2643893"/>
              <a:gd name="connsiteY10" fmla="*/ 158633 h 2601796"/>
              <a:gd name="connsiteX11" fmla="*/ 1134180 w 2643893"/>
              <a:gd name="connsiteY11" fmla="*/ 134821 h 2601796"/>
              <a:gd name="connsiteX12" fmla="*/ 1148468 w 2643893"/>
              <a:gd name="connsiteY12" fmla="*/ 125296 h 2601796"/>
              <a:gd name="connsiteX13" fmla="*/ 1224668 w 2643893"/>
              <a:gd name="connsiteY13" fmla="*/ 106246 h 2601796"/>
              <a:gd name="connsiteX14" fmla="*/ 1253243 w 2643893"/>
              <a:gd name="connsiteY14" fmla="*/ 96721 h 2601796"/>
              <a:gd name="connsiteX15" fmla="*/ 1329443 w 2643893"/>
              <a:gd name="connsiteY15" fmla="*/ 87196 h 2601796"/>
              <a:gd name="connsiteX16" fmla="*/ 1372305 w 2643893"/>
              <a:gd name="connsiteY16" fmla="*/ 77671 h 2601796"/>
              <a:gd name="connsiteX17" fmla="*/ 1415168 w 2643893"/>
              <a:gd name="connsiteY17" fmla="*/ 72908 h 2601796"/>
              <a:gd name="connsiteX18" fmla="*/ 1453268 w 2643893"/>
              <a:gd name="connsiteY18" fmla="*/ 63383 h 2601796"/>
              <a:gd name="connsiteX19" fmla="*/ 1524705 w 2643893"/>
              <a:gd name="connsiteY19" fmla="*/ 53858 h 2601796"/>
              <a:gd name="connsiteX20" fmla="*/ 1605668 w 2643893"/>
              <a:gd name="connsiteY20" fmla="*/ 39571 h 2601796"/>
              <a:gd name="connsiteX21" fmla="*/ 1705680 w 2643893"/>
              <a:gd name="connsiteY21" fmla="*/ 30046 h 2601796"/>
              <a:gd name="connsiteX22" fmla="*/ 1881893 w 2643893"/>
              <a:gd name="connsiteY22" fmla="*/ 20521 h 2601796"/>
              <a:gd name="connsiteX23" fmla="*/ 2329568 w 2643893"/>
              <a:gd name="connsiteY23" fmla="*/ 20521 h 2601796"/>
              <a:gd name="connsiteX24" fmla="*/ 2358143 w 2643893"/>
              <a:gd name="connsiteY24" fmla="*/ 30046 h 2601796"/>
              <a:gd name="connsiteX25" fmla="*/ 2386718 w 2643893"/>
              <a:gd name="connsiteY25" fmla="*/ 39571 h 2601796"/>
              <a:gd name="connsiteX26" fmla="*/ 2577218 w 2643893"/>
              <a:gd name="connsiteY26" fmla="*/ 44333 h 2601796"/>
              <a:gd name="connsiteX27" fmla="*/ 2615318 w 2643893"/>
              <a:gd name="connsiteY27" fmla="*/ 53858 h 2601796"/>
              <a:gd name="connsiteX28" fmla="*/ 2629605 w 2643893"/>
              <a:gd name="connsiteY28" fmla="*/ 63383 h 2601796"/>
              <a:gd name="connsiteX29" fmla="*/ 2643893 w 2643893"/>
              <a:gd name="connsiteY29" fmla="*/ 68146 h 2601796"/>
              <a:gd name="connsiteX30" fmla="*/ 2639130 w 2643893"/>
              <a:gd name="connsiteY30" fmla="*/ 2597033 h 2601796"/>
              <a:gd name="connsiteX31" fmla="*/ 705 w 2643893"/>
              <a:gd name="connsiteY31" fmla="*/ 2601796 h 2601796"/>
              <a:gd name="connsiteX32" fmla="*/ 705 w 2643893"/>
              <a:gd name="connsiteY32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053218 w 2643893"/>
              <a:gd name="connsiteY9" fmla="*/ 168158 h 2601796"/>
              <a:gd name="connsiteX10" fmla="*/ 1134180 w 2643893"/>
              <a:gd name="connsiteY10" fmla="*/ 134821 h 2601796"/>
              <a:gd name="connsiteX11" fmla="*/ 1148468 w 2643893"/>
              <a:gd name="connsiteY11" fmla="*/ 125296 h 2601796"/>
              <a:gd name="connsiteX12" fmla="*/ 1224668 w 2643893"/>
              <a:gd name="connsiteY12" fmla="*/ 106246 h 2601796"/>
              <a:gd name="connsiteX13" fmla="*/ 1253243 w 2643893"/>
              <a:gd name="connsiteY13" fmla="*/ 96721 h 2601796"/>
              <a:gd name="connsiteX14" fmla="*/ 1329443 w 2643893"/>
              <a:gd name="connsiteY14" fmla="*/ 87196 h 2601796"/>
              <a:gd name="connsiteX15" fmla="*/ 1372305 w 2643893"/>
              <a:gd name="connsiteY15" fmla="*/ 77671 h 2601796"/>
              <a:gd name="connsiteX16" fmla="*/ 1415168 w 2643893"/>
              <a:gd name="connsiteY16" fmla="*/ 72908 h 2601796"/>
              <a:gd name="connsiteX17" fmla="*/ 1453268 w 2643893"/>
              <a:gd name="connsiteY17" fmla="*/ 63383 h 2601796"/>
              <a:gd name="connsiteX18" fmla="*/ 1524705 w 2643893"/>
              <a:gd name="connsiteY18" fmla="*/ 53858 h 2601796"/>
              <a:gd name="connsiteX19" fmla="*/ 1605668 w 2643893"/>
              <a:gd name="connsiteY19" fmla="*/ 39571 h 2601796"/>
              <a:gd name="connsiteX20" fmla="*/ 1705680 w 2643893"/>
              <a:gd name="connsiteY20" fmla="*/ 30046 h 2601796"/>
              <a:gd name="connsiteX21" fmla="*/ 1881893 w 2643893"/>
              <a:gd name="connsiteY21" fmla="*/ 20521 h 2601796"/>
              <a:gd name="connsiteX22" fmla="*/ 2329568 w 2643893"/>
              <a:gd name="connsiteY22" fmla="*/ 20521 h 2601796"/>
              <a:gd name="connsiteX23" fmla="*/ 2358143 w 2643893"/>
              <a:gd name="connsiteY23" fmla="*/ 30046 h 2601796"/>
              <a:gd name="connsiteX24" fmla="*/ 2386718 w 2643893"/>
              <a:gd name="connsiteY24" fmla="*/ 39571 h 2601796"/>
              <a:gd name="connsiteX25" fmla="*/ 2577218 w 2643893"/>
              <a:gd name="connsiteY25" fmla="*/ 44333 h 2601796"/>
              <a:gd name="connsiteX26" fmla="*/ 2615318 w 2643893"/>
              <a:gd name="connsiteY26" fmla="*/ 53858 h 2601796"/>
              <a:gd name="connsiteX27" fmla="*/ 2629605 w 2643893"/>
              <a:gd name="connsiteY27" fmla="*/ 63383 h 2601796"/>
              <a:gd name="connsiteX28" fmla="*/ 2643893 w 2643893"/>
              <a:gd name="connsiteY28" fmla="*/ 68146 h 2601796"/>
              <a:gd name="connsiteX29" fmla="*/ 2639130 w 2643893"/>
              <a:gd name="connsiteY29" fmla="*/ 2597033 h 2601796"/>
              <a:gd name="connsiteX30" fmla="*/ 705 w 2643893"/>
              <a:gd name="connsiteY30" fmla="*/ 2601796 h 2601796"/>
              <a:gd name="connsiteX31" fmla="*/ 705 w 2643893"/>
              <a:gd name="connsiteY31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053218 w 2643893"/>
              <a:gd name="connsiteY9" fmla="*/ 168158 h 2601796"/>
              <a:gd name="connsiteX10" fmla="*/ 1134180 w 2643893"/>
              <a:gd name="connsiteY10" fmla="*/ 134821 h 2601796"/>
              <a:gd name="connsiteX11" fmla="*/ 1148468 w 2643893"/>
              <a:gd name="connsiteY11" fmla="*/ 125296 h 2601796"/>
              <a:gd name="connsiteX12" fmla="*/ 1224668 w 2643893"/>
              <a:gd name="connsiteY12" fmla="*/ 106246 h 2601796"/>
              <a:gd name="connsiteX13" fmla="*/ 1253243 w 2643893"/>
              <a:gd name="connsiteY13" fmla="*/ 96721 h 2601796"/>
              <a:gd name="connsiteX14" fmla="*/ 1372305 w 2643893"/>
              <a:gd name="connsiteY14" fmla="*/ 77671 h 2601796"/>
              <a:gd name="connsiteX15" fmla="*/ 1415168 w 2643893"/>
              <a:gd name="connsiteY15" fmla="*/ 72908 h 2601796"/>
              <a:gd name="connsiteX16" fmla="*/ 1453268 w 2643893"/>
              <a:gd name="connsiteY16" fmla="*/ 63383 h 2601796"/>
              <a:gd name="connsiteX17" fmla="*/ 1524705 w 2643893"/>
              <a:gd name="connsiteY17" fmla="*/ 53858 h 2601796"/>
              <a:gd name="connsiteX18" fmla="*/ 1605668 w 2643893"/>
              <a:gd name="connsiteY18" fmla="*/ 39571 h 2601796"/>
              <a:gd name="connsiteX19" fmla="*/ 1705680 w 2643893"/>
              <a:gd name="connsiteY19" fmla="*/ 30046 h 2601796"/>
              <a:gd name="connsiteX20" fmla="*/ 1881893 w 2643893"/>
              <a:gd name="connsiteY20" fmla="*/ 20521 h 2601796"/>
              <a:gd name="connsiteX21" fmla="*/ 2329568 w 2643893"/>
              <a:gd name="connsiteY21" fmla="*/ 20521 h 2601796"/>
              <a:gd name="connsiteX22" fmla="*/ 2358143 w 2643893"/>
              <a:gd name="connsiteY22" fmla="*/ 30046 h 2601796"/>
              <a:gd name="connsiteX23" fmla="*/ 2386718 w 2643893"/>
              <a:gd name="connsiteY23" fmla="*/ 39571 h 2601796"/>
              <a:gd name="connsiteX24" fmla="*/ 2577218 w 2643893"/>
              <a:gd name="connsiteY24" fmla="*/ 44333 h 2601796"/>
              <a:gd name="connsiteX25" fmla="*/ 2615318 w 2643893"/>
              <a:gd name="connsiteY25" fmla="*/ 53858 h 2601796"/>
              <a:gd name="connsiteX26" fmla="*/ 2629605 w 2643893"/>
              <a:gd name="connsiteY26" fmla="*/ 63383 h 2601796"/>
              <a:gd name="connsiteX27" fmla="*/ 2643893 w 2643893"/>
              <a:gd name="connsiteY27" fmla="*/ 68146 h 2601796"/>
              <a:gd name="connsiteX28" fmla="*/ 2639130 w 2643893"/>
              <a:gd name="connsiteY28" fmla="*/ 2597033 h 2601796"/>
              <a:gd name="connsiteX29" fmla="*/ 705 w 2643893"/>
              <a:gd name="connsiteY29" fmla="*/ 2601796 h 2601796"/>
              <a:gd name="connsiteX30" fmla="*/ 705 w 2643893"/>
              <a:gd name="connsiteY30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053218 w 2643893"/>
              <a:gd name="connsiteY9" fmla="*/ 168158 h 2601796"/>
              <a:gd name="connsiteX10" fmla="*/ 1134180 w 2643893"/>
              <a:gd name="connsiteY10" fmla="*/ 134821 h 2601796"/>
              <a:gd name="connsiteX11" fmla="*/ 1148468 w 2643893"/>
              <a:gd name="connsiteY11" fmla="*/ 125296 h 2601796"/>
              <a:gd name="connsiteX12" fmla="*/ 1224668 w 2643893"/>
              <a:gd name="connsiteY12" fmla="*/ 106246 h 2601796"/>
              <a:gd name="connsiteX13" fmla="*/ 1253243 w 2643893"/>
              <a:gd name="connsiteY13" fmla="*/ 96721 h 2601796"/>
              <a:gd name="connsiteX14" fmla="*/ 1372305 w 2643893"/>
              <a:gd name="connsiteY14" fmla="*/ 77671 h 2601796"/>
              <a:gd name="connsiteX15" fmla="*/ 1415168 w 2643893"/>
              <a:gd name="connsiteY15" fmla="*/ 72908 h 2601796"/>
              <a:gd name="connsiteX16" fmla="*/ 1524705 w 2643893"/>
              <a:gd name="connsiteY16" fmla="*/ 53858 h 2601796"/>
              <a:gd name="connsiteX17" fmla="*/ 1605668 w 2643893"/>
              <a:gd name="connsiteY17" fmla="*/ 39571 h 2601796"/>
              <a:gd name="connsiteX18" fmla="*/ 1705680 w 2643893"/>
              <a:gd name="connsiteY18" fmla="*/ 30046 h 2601796"/>
              <a:gd name="connsiteX19" fmla="*/ 1881893 w 2643893"/>
              <a:gd name="connsiteY19" fmla="*/ 20521 h 2601796"/>
              <a:gd name="connsiteX20" fmla="*/ 2329568 w 2643893"/>
              <a:gd name="connsiteY20" fmla="*/ 20521 h 2601796"/>
              <a:gd name="connsiteX21" fmla="*/ 2358143 w 2643893"/>
              <a:gd name="connsiteY21" fmla="*/ 30046 h 2601796"/>
              <a:gd name="connsiteX22" fmla="*/ 2386718 w 2643893"/>
              <a:gd name="connsiteY22" fmla="*/ 39571 h 2601796"/>
              <a:gd name="connsiteX23" fmla="*/ 2577218 w 2643893"/>
              <a:gd name="connsiteY23" fmla="*/ 44333 h 2601796"/>
              <a:gd name="connsiteX24" fmla="*/ 2615318 w 2643893"/>
              <a:gd name="connsiteY24" fmla="*/ 53858 h 2601796"/>
              <a:gd name="connsiteX25" fmla="*/ 2629605 w 2643893"/>
              <a:gd name="connsiteY25" fmla="*/ 63383 h 2601796"/>
              <a:gd name="connsiteX26" fmla="*/ 2643893 w 2643893"/>
              <a:gd name="connsiteY26" fmla="*/ 68146 h 2601796"/>
              <a:gd name="connsiteX27" fmla="*/ 2639130 w 2643893"/>
              <a:gd name="connsiteY27" fmla="*/ 2597033 h 2601796"/>
              <a:gd name="connsiteX28" fmla="*/ 705 w 2643893"/>
              <a:gd name="connsiteY28" fmla="*/ 2601796 h 2601796"/>
              <a:gd name="connsiteX29" fmla="*/ 705 w 2643893"/>
              <a:gd name="connsiteY29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053218 w 2643893"/>
              <a:gd name="connsiteY9" fmla="*/ 168158 h 2601796"/>
              <a:gd name="connsiteX10" fmla="*/ 1134180 w 2643893"/>
              <a:gd name="connsiteY10" fmla="*/ 134821 h 2601796"/>
              <a:gd name="connsiteX11" fmla="*/ 1224668 w 2643893"/>
              <a:gd name="connsiteY11" fmla="*/ 106246 h 2601796"/>
              <a:gd name="connsiteX12" fmla="*/ 1253243 w 2643893"/>
              <a:gd name="connsiteY12" fmla="*/ 96721 h 2601796"/>
              <a:gd name="connsiteX13" fmla="*/ 1372305 w 2643893"/>
              <a:gd name="connsiteY13" fmla="*/ 77671 h 2601796"/>
              <a:gd name="connsiteX14" fmla="*/ 1415168 w 2643893"/>
              <a:gd name="connsiteY14" fmla="*/ 72908 h 2601796"/>
              <a:gd name="connsiteX15" fmla="*/ 1524705 w 2643893"/>
              <a:gd name="connsiteY15" fmla="*/ 53858 h 2601796"/>
              <a:gd name="connsiteX16" fmla="*/ 1605668 w 2643893"/>
              <a:gd name="connsiteY16" fmla="*/ 39571 h 2601796"/>
              <a:gd name="connsiteX17" fmla="*/ 1705680 w 2643893"/>
              <a:gd name="connsiteY17" fmla="*/ 30046 h 2601796"/>
              <a:gd name="connsiteX18" fmla="*/ 1881893 w 2643893"/>
              <a:gd name="connsiteY18" fmla="*/ 20521 h 2601796"/>
              <a:gd name="connsiteX19" fmla="*/ 2329568 w 2643893"/>
              <a:gd name="connsiteY19" fmla="*/ 20521 h 2601796"/>
              <a:gd name="connsiteX20" fmla="*/ 2358143 w 2643893"/>
              <a:gd name="connsiteY20" fmla="*/ 30046 h 2601796"/>
              <a:gd name="connsiteX21" fmla="*/ 2386718 w 2643893"/>
              <a:gd name="connsiteY21" fmla="*/ 39571 h 2601796"/>
              <a:gd name="connsiteX22" fmla="*/ 2577218 w 2643893"/>
              <a:gd name="connsiteY22" fmla="*/ 44333 h 2601796"/>
              <a:gd name="connsiteX23" fmla="*/ 2615318 w 2643893"/>
              <a:gd name="connsiteY23" fmla="*/ 53858 h 2601796"/>
              <a:gd name="connsiteX24" fmla="*/ 2629605 w 2643893"/>
              <a:gd name="connsiteY24" fmla="*/ 63383 h 2601796"/>
              <a:gd name="connsiteX25" fmla="*/ 2643893 w 2643893"/>
              <a:gd name="connsiteY25" fmla="*/ 68146 h 2601796"/>
              <a:gd name="connsiteX26" fmla="*/ 2639130 w 2643893"/>
              <a:gd name="connsiteY26" fmla="*/ 2597033 h 2601796"/>
              <a:gd name="connsiteX27" fmla="*/ 705 w 2643893"/>
              <a:gd name="connsiteY27" fmla="*/ 2601796 h 2601796"/>
              <a:gd name="connsiteX28" fmla="*/ 705 w 2643893"/>
              <a:gd name="connsiteY28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134180 w 2643893"/>
              <a:gd name="connsiteY9" fmla="*/ 134821 h 2601796"/>
              <a:gd name="connsiteX10" fmla="*/ 1224668 w 2643893"/>
              <a:gd name="connsiteY10" fmla="*/ 106246 h 2601796"/>
              <a:gd name="connsiteX11" fmla="*/ 1253243 w 2643893"/>
              <a:gd name="connsiteY11" fmla="*/ 96721 h 2601796"/>
              <a:gd name="connsiteX12" fmla="*/ 1372305 w 2643893"/>
              <a:gd name="connsiteY12" fmla="*/ 77671 h 2601796"/>
              <a:gd name="connsiteX13" fmla="*/ 1415168 w 2643893"/>
              <a:gd name="connsiteY13" fmla="*/ 72908 h 2601796"/>
              <a:gd name="connsiteX14" fmla="*/ 1524705 w 2643893"/>
              <a:gd name="connsiteY14" fmla="*/ 53858 h 2601796"/>
              <a:gd name="connsiteX15" fmla="*/ 1605668 w 2643893"/>
              <a:gd name="connsiteY15" fmla="*/ 39571 h 2601796"/>
              <a:gd name="connsiteX16" fmla="*/ 1705680 w 2643893"/>
              <a:gd name="connsiteY16" fmla="*/ 30046 h 2601796"/>
              <a:gd name="connsiteX17" fmla="*/ 1881893 w 2643893"/>
              <a:gd name="connsiteY17" fmla="*/ 20521 h 2601796"/>
              <a:gd name="connsiteX18" fmla="*/ 2329568 w 2643893"/>
              <a:gd name="connsiteY18" fmla="*/ 20521 h 2601796"/>
              <a:gd name="connsiteX19" fmla="*/ 2358143 w 2643893"/>
              <a:gd name="connsiteY19" fmla="*/ 30046 h 2601796"/>
              <a:gd name="connsiteX20" fmla="*/ 2386718 w 2643893"/>
              <a:gd name="connsiteY20" fmla="*/ 39571 h 2601796"/>
              <a:gd name="connsiteX21" fmla="*/ 2577218 w 2643893"/>
              <a:gd name="connsiteY21" fmla="*/ 44333 h 2601796"/>
              <a:gd name="connsiteX22" fmla="*/ 2615318 w 2643893"/>
              <a:gd name="connsiteY22" fmla="*/ 53858 h 2601796"/>
              <a:gd name="connsiteX23" fmla="*/ 2629605 w 2643893"/>
              <a:gd name="connsiteY23" fmla="*/ 63383 h 2601796"/>
              <a:gd name="connsiteX24" fmla="*/ 2643893 w 2643893"/>
              <a:gd name="connsiteY24" fmla="*/ 68146 h 2601796"/>
              <a:gd name="connsiteX25" fmla="*/ 2639130 w 2643893"/>
              <a:gd name="connsiteY25" fmla="*/ 2597033 h 2601796"/>
              <a:gd name="connsiteX26" fmla="*/ 705 w 2643893"/>
              <a:gd name="connsiteY26" fmla="*/ 2601796 h 2601796"/>
              <a:gd name="connsiteX27" fmla="*/ 705 w 2643893"/>
              <a:gd name="connsiteY27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134180 w 2643893"/>
              <a:gd name="connsiteY9" fmla="*/ 134821 h 2601796"/>
              <a:gd name="connsiteX10" fmla="*/ 1224668 w 2643893"/>
              <a:gd name="connsiteY10" fmla="*/ 106246 h 2601796"/>
              <a:gd name="connsiteX11" fmla="*/ 1253243 w 2643893"/>
              <a:gd name="connsiteY11" fmla="*/ 96721 h 2601796"/>
              <a:gd name="connsiteX12" fmla="*/ 1372305 w 2643893"/>
              <a:gd name="connsiteY12" fmla="*/ 77671 h 2601796"/>
              <a:gd name="connsiteX13" fmla="*/ 1524705 w 2643893"/>
              <a:gd name="connsiteY13" fmla="*/ 53858 h 2601796"/>
              <a:gd name="connsiteX14" fmla="*/ 1605668 w 2643893"/>
              <a:gd name="connsiteY14" fmla="*/ 39571 h 2601796"/>
              <a:gd name="connsiteX15" fmla="*/ 1705680 w 2643893"/>
              <a:gd name="connsiteY15" fmla="*/ 30046 h 2601796"/>
              <a:gd name="connsiteX16" fmla="*/ 1881893 w 2643893"/>
              <a:gd name="connsiteY16" fmla="*/ 20521 h 2601796"/>
              <a:gd name="connsiteX17" fmla="*/ 2329568 w 2643893"/>
              <a:gd name="connsiteY17" fmla="*/ 20521 h 2601796"/>
              <a:gd name="connsiteX18" fmla="*/ 2358143 w 2643893"/>
              <a:gd name="connsiteY18" fmla="*/ 30046 h 2601796"/>
              <a:gd name="connsiteX19" fmla="*/ 2386718 w 2643893"/>
              <a:gd name="connsiteY19" fmla="*/ 39571 h 2601796"/>
              <a:gd name="connsiteX20" fmla="*/ 2577218 w 2643893"/>
              <a:gd name="connsiteY20" fmla="*/ 44333 h 2601796"/>
              <a:gd name="connsiteX21" fmla="*/ 2615318 w 2643893"/>
              <a:gd name="connsiteY21" fmla="*/ 53858 h 2601796"/>
              <a:gd name="connsiteX22" fmla="*/ 2629605 w 2643893"/>
              <a:gd name="connsiteY22" fmla="*/ 63383 h 2601796"/>
              <a:gd name="connsiteX23" fmla="*/ 2643893 w 2643893"/>
              <a:gd name="connsiteY23" fmla="*/ 68146 h 2601796"/>
              <a:gd name="connsiteX24" fmla="*/ 2639130 w 2643893"/>
              <a:gd name="connsiteY24" fmla="*/ 2597033 h 2601796"/>
              <a:gd name="connsiteX25" fmla="*/ 705 w 2643893"/>
              <a:gd name="connsiteY25" fmla="*/ 2601796 h 2601796"/>
              <a:gd name="connsiteX26" fmla="*/ 705 w 2643893"/>
              <a:gd name="connsiteY26" fmla="*/ 577733 h 2601796"/>
              <a:gd name="connsiteX0" fmla="*/ 705 w 2643893"/>
              <a:gd name="connsiteY0" fmla="*/ 577733 h 2601796"/>
              <a:gd name="connsiteX1" fmla="*/ 10230 w 2643893"/>
              <a:gd name="connsiteY1" fmla="*/ 587258 h 2601796"/>
              <a:gd name="connsiteX2" fmla="*/ 105480 w 2643893"/>
              <a:gd name="connsiteY2" fmla="*/ 539633 h 2601796"/>
              <a:gd name="connsiteX3" fmla="*/ 315030 w 2643893"/>
              <a:gd name="connsiteY3" fmla="*/ 449146 h 2601796"/>
              <a:gd name="connsiteX4" fmla="*/ 405518 w 2643893"/>
              <a:gd name="connsiteY4" fmla="*/ 411046 h 2601796"/>
              <a:gd name="connsiteX5" fmla="*/ 567443 w 2643893"/>
              <a:gd name="connsiteY5" fmla="*/ 349133 h 2601796"/>
              <a:gd name="connsiteX6" fmla="*/ 662693 w 2643893"/>
              <a:gd name="connsiteY6" fmla="*/ 291983 h 2601796"/>
              <a:gd name="connsiteX7" fmla="*/ 791280 w 2643893"/>
              <a:gd name="connsiteY7" fmla="*/ 215783 h 2601796"/>
              <a:gd name="connsiteX8" fmla="*/ 1010355 w 2643893"/>
              <a:gd name="connsiteY8" fmla="*/ 172921 h 2601796"/>
              <a:gd name="connsiteX9" fmla="*/ 1134180 w 2643893"/>
              <a:gd name="connsiteY9" fmla="*/ 134821 h 2601796"/>
              <a:gd name="connsiteX10" fmla="*/ 1224668 w 2643893"/>
              <a:gd name="connsiteY10" fmla="*/ 106246 h 2601796"/>
              <a:gd name="connsiteX11" fmla="*/ 1253243 w 2643893"/>
              <a:gd name="connsiteY11" fmla="*/ 96721 h 2601796"/>
              <a:gd name="connsiteX12" fmla="*/ 1372305 w 2643893"/>
              <a:gd name="connsiteY12" fmla="*/ 77671 h 2601796"/>
              <a:gd name="connsiteX13" fmla="*/ 1524705 w 2643893"/>
              <a:gd name="connsiteY13" fmla="*/ 53858 h 2601796"/>
              <a:gd name="connsiteX14" fmla="*/ 1605668 w 2643893"/>
              <a:gd name="connsiteY14" fmla="*/ 39571 h 2601796"/>
              <a:gd name="connsiteX15" fmla="*/ 1705680 w 2643893"/>
              <a:gd name="connsiteY15" fmla="*/ 30046 h 2601796"/>
              <a:gd name="connsiteX16" fmla="*/ 1881893 w 2643893"/>
              <a:gd name="connsiteY16" fmla="*/ 20521 h 2601796"/>
              <a:gd name="connsiteX17" fmla="*/ 2329568 w 2643893"/>
              <a:gd name="connsiteY17" fmla="*/ 20521 h 2601796"/>
              <a:gd name="connsiteX18" fmla="*/ 2358143 w 2643893"/>
              <a:gd name="connsiteY18" fmla="*/ 30046 h 2601796"/>
              <a:gd name="connsiteX19" fmla="*/ 2577218 w 2643893"/>
              <a:gd name="connsiteY19" fmla="*/ 44333 h 2601796"/>
              <a:gd name="connsiteX20" fmla="*/ 2615318 w 2643893"/>
              <a:gd name="connsiteY20" fmla="*/ 53858 h 2601796"/>
              <a:gd name="connsiteX21" fmla="*/ 2629605 w 2643893"/>
              <a:gd name="connsiteY21" fmla="*/ 63383 h 2601796"/>
              <a:gd name="connsiteX22" fmla="*/ 2643893 w 2643893"/>
              <a:gd name="connsiteY22" fmla="*/ 68146 h 2601796"/>
              <a:gd name="connsiteX23" fmla="*/ 2639130 w 2643893"/>
              <a:gd name="connsiteY23" fmla="*/ 2597033 h 2601796"/>
              <a:gd name="connsiteX24" fmla="*/ 705 w 2643893"/>
              <a:gd name="connsiteY24" fmla="*/ 2601796 h 2601796"/>
              <a:gd name="connsiteX25" fmla="*/ 705 w 2643893"/>
              <a:gd name="connsiteY25" fmla="*/ 577733 h 2601796"/>
              <a:gd name="connsiteX0" fmla="*/ 705 w 2643893"/>
              <a:gd name="connsiteY0" fmla="*/ 575490 h 2599553"/>
              <a:gd name="connsiteX1" fmla="*/ 10230 w 2643893"/>
              <a:gd name="connsiteY1" fmla="*/ 585015 h 2599553"/>
              <a:gd name="connsiteX2" fmla="*/ 105480 w 2643893"/>
              <a:gd name="connsiteY2" fmla="*/ 537390 h 2599553"/>
              <a:gd name="connsiteX3" fmla="*/ 315030 w 2643893"/>
              <a:gd name="connsiteY3" fmla="*/ 446903 h 2599553"/>
              <a:gd name="connsiteX4" fmla="*/ 405518 w 2643893"/>
              <a:gd name="connsiteY4" fmla="*/ 408803 h 2599553"/>
              <a:gd name="connsiteX5" fmla="*/ 567443 w 2643893"/>
              <a:gd name="connsiteY5" fmla="*/ 346890 h 2599553"/>
              <a:gd name="connsiteX6" fmla="*/ 662693 w 2643893"/>
              <a:gd name="connsiteY6" fmla="*/ 289740 h 2599553"/>
              <a:gd name="connsiteX7" fmla="*/ 791280 w 2643893"/>
              <a:gd name="connsiteY7" fmla="*/ 213540 h 2599553"/>
              <a:gd name="connsiteX8" fmla="*/ 1010355 w 2643893"/>
              <a:gd name="connsiteY8" fmla="*/ 170678 h 2599553"/>
              <a:gd name="connsiteX9" fmla="*/ 1134180 w 2643893"/>
              <a:gd name="connsiteY9" fmla="*/ 132578 h 2599553"/>
              <a:gd name="connsiteX10" fmla="*/ 1224668 w 2643893"/>
              <a:gd name="connsiteY10" fmla="*/ 104003 h 2599553"/>
              <a:gd name="connsiteX11" fmla="*/ 1253243 w 2643893"/>
              <a:gd name="connsiteY11" fmla="*/ 94478 h 2599553"/>
              <a:gd name="connsiteX12" fmla="*/ 1372305 w 2643893"/>
              <a:gd name="connsiteY12" fmla="*/ 75428 h 2599553"/>
              <a:gd name="connsiteX13" fmla="*/ 1524705 w 2643893"/>
              <a:gd name="connsiteY13" fmla="*/ 51615 h 2599553"/>
              <a:gd name="connsiteX14" fmla="*/ 1605668 w 2643893"/>
              <a:gd name="connsiteY14" fmla="*/ 37328 h 2599553"/>
              <a:gd name="connsiteX15" fmla="*/ 1705680 w 2643893"/>
              <a:gd name="connsiteY15" fmla="*/ 27803 h 2599553"/>
              <a:gd name="connsiteX16" fmla="*/ 1881893 w 2643893"/>
              <a:gd name="connsiteY16" fmla="*/ 18278 h 2599553"/>
              <a:gd name="connsiteX17" fmla="*/ 2329568 w 2643893"/>
              <a:gd name="connsiteY17" fmla="*/ 18278 h 2599553"/>
              <a:gd name="connsiteX18" fmla="*/ 2577218 w 2643893"/>
              <a:gd name="connsiteY18" fmla="*/ 42090 h 2599553"/>
              <a:gd name="connsiteX19" fmla="*/ 2615318 w 2643893"/>
              <a:gd name="connsiteY19" fmla="*/ 51615 h 2599553"/>
              <a:gd name="connsiteX20" fmla="*/ 2629605 w 2643893"/>
              <a:gd name="connsiteY20" fmla="*/ 61140 h 2599553"/>
              <a:gd name="connsiteX21" fmla="*/ 2643893 w 2643893"/>
              <a:gd name="connsiteY21" fmla="*/ 65903 h 2599553"/>
              <a:gd name="connsiteX22" fmla="*/ 2639130 w 2643893"/>
              <a:gd name="connsiteY22" fmla="*/ 2594790 h 2599553"/>
              <a:gd name="connsiteX23" fmla="*/ 705 w 2643893"/>
              <a:gd name="connsiteY23" fmla="*/ 2599553 h 2599553"/>
              <a:gd name="connsiteX24" fmla="*/ 705 w 2643893"/>
              <a:gd name="connsiteY24" fmla="*/ 575490 h 2599553"/>
              <a:gd name="connsiteX0" fmla="*/ 705 w 2643893"/>
              <a:gd name="connsiteY0" fmla="*/ 568652 h 2592715"/>
              <a:gd name="connsiteX1" fmla="*/ 10230 w 2643893"/>
              <a:gd name="connsiteY1" fmla="*/ 578177 h 2592715"/>
              <a:gd name="connsiteX2" fmla="*/ 105480 w 2643893"/>
              <a:gd name="connsiteY2" fmla="*/ 530552 h 2592715"/>
              <a:gd name="connsiteX3" fmla="*/ 315030 w 2643893"/>
              <a:gd name="connsiteY3" fmla="*/ 440065 h 2592715"/>
              <a:gd name="connsiteX4" fmla="*/ 405518 w 2643893"/>
              <a:gd name="connsiteY4" fmla="*/ 401965 h 2592715"/>
              <a:gd name="connsiteX5" fmla="*/ 567443 w 2643893"/>
              <a:gd name="connsiteY5" fmla="*/ 340052 h 2592715"/>
              <a:gd name="connsiteX6" fmla="*/ 662693 w 2643893"/>
              <a:gd name="connsiteY6" fmla="*/ 282902 h 2592715"/>
              <a:gd name="connsiteX7" fmla="*/ 791280 w 2643893"/>
              <a:gd name="connsiteY7" fmla="*/ 206702 h 2592715"/>
              <a:gd name="connsiteX8" fmla="*/ 1010355 w 2643893"/>
              <a:gd name="connsiteY8" fmla="*/ 163840 h 2592715"/>
              <a:gd name="connsiteX9" fmla="*/ 1134180 w 2643893"/>
              <a:gd name="connsiteY9" fmla="*/ 125740 h 2592715"/>
              <a:gd name="connsiteX10" fmla="*/ 1224668 w 2643893"/>
              <a:gd name="connsiteY10" fmla="*/ 97165 h 2592715"/>
              <a:gd name="connsiteX11" fmla="*/ 1253243 w 2643893"/>
              <a:gd name="connsiteY11" fmla="*/ 87640 h 2592715"/>
              <a:gd name="connsiteX12" fmla="*/ 1372305 w 2643893"/>
              <a:gd name="connsiteY12" fmla="*/ 68590 h 2592715"/>
              <a:gd name="connsiteX13" fmla="*/ 1524705 w 2643893"/>
              <a:gd name="connsiteY13" fmla="*/ 44777 h 2592715"/>
              <a:gd name="connsiteX14" fmla="*/ 1605668 w 2643893"/>
              <a:gd name="connsiteY14" fmla="*/ 30490 h 2592715"/>
              <a:gd name="connsiteX15" fmla="*/ 1705680 w 2643893"/>
              <a:gd name="connsiteY15" fmla="*/ 20965 h 2592715"/>
              <a:gd name="connsiteX16" fmla="*/ 1881893 w 2643893"/>
              <a:gd name="connsiteY16" fmla="*/ 11440 h 2592715"/>
              <a:gd name="connsiteX17" fmla="*/ 2329568 w 2643893"/>
              <a:gd name="connsiteY17" fmla="*/ 49540 h 2592715"/>
              <a:gd name="connsiteX18" fmla="*/ 2577218 w 2643893"/>
              <a:gd name="connsiteY18" fmla="*/ 35252 h 2592715"/>
              <a:gd name="connsiteX19" fmla="*/ 2615318 w 2643893"/>
              <a:gd name="connsiteY19" fmla="*/ 44777 h 2592715"/>
              <a:gd name="connsiteX20" fmla="*/ 2629605 w 2643893"/>
              <a:gd name="connsiteY20" fmla="*/ 54302 h 2592715"/>
              <a:gd name="connsiteX21" fmla="*/ 2643893 w 2643893"/>
              <a:gd name="connsiteY21" fmla="*/ 59065 h 2592715"/>
              <a:gd name="connsiteX22" fmla="*/ 2639130 w 2643893"/>
              <a:gd name="connsiteY22" fmla="*/ 2587952 h 2592715"/>
              <a:gd name="connsiteX23" fmla="*/ 705 w 2643893"/>
              <a:gd name="connsiteY23" fmla="*/ 2592715 h 2592715"/>
              <a:gd name="connsiteX24" fmla="*/ 705 w 2643893"/>
              <a:gd name="connsiteY24" fmla="*/ 568652 h 2592715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315030 w 2643893"/>
              <a:gd name="connsiteY3" fmla="*/ 440759 h 2593409"/>
              <a:gd name="connsiteX4" fmla="*/ 405518 w 2643893"/>
              <a:gd name="connsiteY4" fmla="*/ 402659 h 2593409"/>
              <a:gd name="connsiteX5" fmla="*/ 567443 w 2643893"/>
              <a:gd name="connsiteY5" fmla="*/ 340746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10355 w 2643893"/>
              <a:gd name="connsiteY8" fmla="*/ 164534 h 2593409"/>
              <a:gd name="connsiteX9" fmla="*/ 1134180 w 2643893"/>
              <a:gd name="connsiteY9" fmla="*/ 126434 h 2593409"/>
              <a:gd name="connsiteX10" fmla="*/ 1224668 w 2643893"/>
              <a:gd name="connsiteY10" fmla="*/ 97859 h 2593409"/>
              <a:gd name="connsiteX11" fmla="*/ 1253243 w 2643893"/>
              <a:gd name="connsiteY11" fmla="*/ 88334 h 2593409"/>
              <a:gd name="connsiteX12" fmla="*/ 1372305 w 2643893"/>
              <a:gd name="connsiteY12" fmla="*/ 69284 h 2593409"/>
              <a:gd name="connsiteX13" fmla="*/ 1524705 w 2643893"/>
              <a:gd name="connsiteY13" fmla="*/ 45471 h 2593409"/>
              <a:gd name="connsiteX14" fmla="*/ 1605668 w 2643893"/>
              <a:gd name="connsiteY14" fmla="*/ 31184 h 2593409"/>
              <a:gd name="connsiteX15" fmla="*/ 1705680 w 2643893"/>
              <a:gd name="connsiteY15" fmla="*/ 21659 h 2593409"/>
              <a:gd name="connsiteX16" fmla="*/ 1881893 w 2643893"/>
              <a:gd name="connsiteY16" fmla="*/ 12134 h 2593409"/>
              <a:gd name="connsiteX17" fmla="*/ 2329568 w 2643893"/>
              <a:gd name="connsiteY17" fmla="*/ 50234 h 2593409"/>
              <a:gd name="connsiteX18" fmla="*/ 2577218 w 2643893"/>
              <a:gd name="connsiteY18" fmla="*/ 74046 h 2593409"/>
              <a:gd name="connsiteX19" fmla="*/ 2615318 w 2643893"/>
              <a:gd name="connsiteY19" fmla="*/ 45471 h 2593409"/>
              <a:gd name="connsiteX20" fmla="*/ 2629605 w 2643893"/>
              <a:gd name="connsiteY20" fmla="*/ 54996 h 2593409"/>
              <a:gd name="connsiteX21" fmla="*/ 2643893 w 2643893"/>
              <a:gd name="connsiteY21" fmla="*/ 59759 h 2593409"/>
              <a:gd name="connsiteX22" fmla="*/ 2639130 w 2643893"/>
              <a:gd name="connsiteY22" fmla="*/ 2588646 h 2593409"/>
              <a:gd name="connsiteX23" fmla="*/ 705 w 2643893"/>
              <a:gd name="connsiteY23" fmla="*/ 2593409 h 2593409"/>
              <a:gd name="connsiteX24" fmla="*/ 705 w 2643893"/>
              <a:gd name="connsiteY24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315030 w 2643893"/>
              <a:gd name="connsiteY3" fmla="*/ 440759 h 2593409"/>
              <a:gd name="connsiteX4" fmla="*/ 405518 w 2643893"/>
              <a:gd name="connsiteY4" fmla="*/ 402659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10355 w 2643893"/>
              <a:gd name="connsiteY8" fmla="*/ 164534 h 2593409"/>
              <a:gd name="connsiteX9" fmla="*/ 1134180 w 2643893"/>
              <a:gd name="connsiteY9" fmla="*/ 126434 h 2593409"/>
              <a:gd name="connsiteX10" fmla="*/ 1224668 w 2643893"/>
              <a:gd name="connsiteY10" fmla="*/ 97859 h 2593409"/>
              <a:gd name="connsiteX11" fmla="*/ 1253243 w 2643893"/>
              <a:gd name="connsiteY11" fmla="*/ 88334 h 2593409"/>
              <a:gd name="connsiteX12" fmla="*/ 1372305 w 2643893"/>
              <a:gd name="connsiteY12" fmla="*/ 69284 h 2593409"/>
              <a:gd name="connsiteX13" fmla="*/ 1524705 w 2643893"/>
              <a:gd name="connsiteY13" fmla="*/ 45471 h 2593409"/>
              <a:gd name="connsiteX14" fmla="*/ 1605668 w 2643893"/>
              <a:gd name="connsiteY14" fmla="*/ 31184 h 2593409"/>
              <a:gd name="connsiteX15" fmla="*/ 1705680 w 2643893"/>
              <a:gd name="connsiteY15" fmla="*/ 21659 h 2593409"/>
              <a:gd name="connsiteX16" fmla="*/ 1881893 w 2643893"/>
              <a:gd name="connsiteY16" fmla="*/ 12134 h 2593409"/>
              <a:gd name="connsiteX17" fmla="*/ 2329568 w 2643893"/>
              <a:gd name="connsiteY17" fmla="*/ 50234 h 2593409"/>
              <a:gd name="connsiteX18" fmla="*/ 2577218 w 2643893"/>
              <a:gd name="connsiteY18" fmla="*/ 74046 h 2593409"/>
              <a:gd name="connsiteX19" fmla="*/ 2615318 w 2643893"/>
              <a:gd name="connsiteY19" fmla="*/ 45471 h 2593409"/>
              <a:gd name="connsiteX20" fmla="*/ 2629605 w 2643893"/>
              <a:gd name="connsiteY20" fmla="*/ 54996 h 2593409"/>
              <a:gd name="connsiteX21" fmla="*/ 2643893 w 2643893"/>
              <a:gd name="connsiteY21" fmla="*/ 59759 h 2593409"/>
              <a:gd name="connsiteX22" fmla="*/ 2639130 w 2643893"/>
              <a:gd name="connsiteY22" fmla="*/ 2588646 h 2593409"/>
              <a:gd name="connsiteX23" fmla="*/ 705 w 2643893"/>
              <a:gd name="connsiteY23" fmla="*/ 2593409 h 2593409"/>
              <a:gd name="connsiteX24" fmla="*/ 705 w 2643893"/>
              <a:gd name="connsiteY24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315030 w 2643893"/>
              <a:gd name="connsiteY3" fmla="*/ 440759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10355 w 2643893"/>
              <a:gd name="connsiteY8" fmla="*/ 164534 h 2593409"/>
              <a:gd name="connsiteX9" fmla="*/ 1134180 w 2643893"/>
              <a:gd name="connsiteY9" fmla="*/ 126434 h 2593409"/>
              <a:gd name="connsiteX10" fmla="*/ 1224668 w 2643893"/>
              <a:gd name="connsiteY10" fmla="*/ 97859 h 2593409"/>
              <a:gd name="connsiteX11" fmla="*/ 1253243 w 2643893"/>
              <a:gd name="connsiteY11" fmla="*/ 88334 h 2593409"/>
              <a:gd name="connsiteX12" fmla="*/ 1372305 w 2643893"/>
              <a:gd name="connsiteY12" fmla="*/ 69284 h 2593409"/>
              <a:gd name="connsiteX13" fmla="*/ 1524705 w 2643893"/>
              <a:gd name="connsiteY13" fmla="*/ 45471 h 2593409"/>
              <a:gd name="connsiteX14" fmla="*/ 1605668 w 2643893"/>
              <a:gd name="connsiteY14" fmla="*/ 31184 h 2593409"/>
              <a:gd name="connsiteX15" fmla="*/ 1705680 w 2643893"/>
              <a:gd name="connsiteY15" fmla="*/ 21659 h 2593409"/>
              <a:gd name="connsiteX16" fmla="*/ 1881893 w 2643893"/>
              <a:gd name="connsiteY16" fmla="*/ 12134 h 2593409"/>
              <a:gd name="connsiteX17" fmla="*/ 2329568 w 2643893"/>
              <a:gd name="connsiteY17" fmla="*/ 50234 h 2593409"/>
              <a:gd name="connsiteX18" fmla="*/ 2577218 w 2643893"/>
              <a:gd name="connsiteY18" fmla="*/ 74046 h 2593409"/>
              <a:gd name="connsiteX19" fmla="*/ 2615318 w 2643893"/>
              <a:gd name="connsiteY19" fmla="*/ 45471 h 2593409"/>
              <a:gd name="connsiteX20" fmla="*/ 2629605 w 2643893"/>
              <a:gd name="connsiteY20" fmla="*/ 54996 h 2593409"/>
              <a:gd name="connsiteX21" fmla="*/ 2643893 w 2643893"/>
              <a:gd name="connsiteY21" fmla="*/ 59759 h 2593409"/>
              <a:gd name="connsiteX22" fmla="*/ 2639130 w 2643893"/>
              <a:gd name="connsiteY22" fmla="*/ 2588646 h 2593409"/>
              <a:gd name="connsiteX23" fmla="*/ 705 w 2643893"/>
              <a:gd name="connsiteY23" fmla="*/ 2593409 h 2593409"/>
              <a:gd name="connsiteX24" fmla="*/ 705 w 2643893"/>
              <a:gd name="connsiteY24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10355 w 2643893"/>
              <a:gd name="connsiteY8" fmla="*/ 164534 h 2593409"/>
              <a:gd name="connsiteX9" fmla="*/ 1134180 w 2643893"/>
              <a:gd name="connsiteY9" fmla="*/ 126434 h 2593409"/>
              <a:gd name="connsiteX10" fmla="*/ 1224668 w 2643893"/>
              <a:gd name="connsiteY10" fmla="*/ 97859 h 2593409"/>
              <a:gd name="connsiteX11" fmla="*/ 1253243 w 2643893"/>
              <a:gd name="connsiteY11" fmla="*/ 88334 h 2593409"/>
              <a:gd name="connsiteX12" fmla="*/ 1372305 w 2643893"/>
              <a:gd name="connsiteY12" fmla="*/ 69284 h 2593409"/>
              <a:gd name="connsiteX13" fmla="*/ 1524705 w 2643893"/>
              <a:gd name="connsiteY13" fmla="*/ 45471 h 2593409"/>
              <a:gd name="connsiteX14" fmla="*/ 1605668 w 2643893"/>
              <a:gd name="connsiteY14" fmla="*/ 31184 h 2593409"/>
              <a:gd name="connsiteX15" fmla="*/ 1705680 w 2643893"/>
              <a:gd name="connsiteY15" fmla="*/ 21659 h 2593409"/>
              <a:gd name="connsiteX16" fmla="*/ 1881893 w 2643893"/>
              <a:gd name="connsiteY16" fmla="*/ 12134 h 2593409"/>
              <a:gd name="connsiteX17" fmla="*/ 2329568 w 2643893"/>
              <a:gd name="connsiteY17" fmla="*/ 50234 h 2593409"/>
              <a:gd name="connsiteX18" fmla="*/ 2577218 w 2643893"/>
              <a:gd name="connsiteY18" fmla="*/ 74046 h 2593409"/>
              <a:gd name="connsiteX19" fmla="*/ 2615318 w 2643893"/>
              <a:gd name="connsiteY19" fmla="*/ 45471 h 2593409"/>
              <a:gd name="connsiteX20" fmla="*/ 2629605 w 2643893"/>
              <a:gd name="connsiteY20" fmla="*/ 54996 h 2593409"/>
              <a:gd name="connsiteX21" fmla="*/ 2643893 w 2643893"/>
              <a:gd name="connsiteY21" fmla="*/ 59759 h 2593409"/>
              <a:gd name="connsiteX22" fmla="*/ 2639130 w 2643893"/>
              <a:gd name="connsiteY22" fmla="*/ 2588646 h 2593409"/>
              <a:gd name="connsiteX23" fmla="*/ 705 w 2643893"/>
              <a:gd name="connsiteY23" fmla="*/ 2593409 h 2593409"/>
              <a:gd name="connsiteX24" fmla="*/ 705 w 2643893"/>
              <a:gd name="connsiteY24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134180 w 2643893"/>
              <a:gd name="connsiteY9" fmla="*/ 126434 h 2593409"/>
              <a:gd name="connsiteX10" fmla="*/ 1224668 w 2643893"/>
              <a:gd name="connsiteY10" fmla="*/ 97859 h 2593409"/>
              <a:gd name="connsiteX11" fmla="*/ 1253243 w 2643893"/>
              <a:gd name="connsiteY11" fmla="*/ 88334 h 2593409"/>
              <a:gd name="connsiteX12" fmla="*/ 1372305 w 2643893"/>
              <a:gd name="connsiteY12" fmla="*/ 69284 h 2593409"/>
              <a:gd name="connsiteX13" fmla="*/ 1524705 w 2643893"/>
              <a:gd name="connsiteY13" fmla="*/ 45471 h 2593409"/>
              <a:gd name="connsiteX14" fmla="*/ 1605668 w 2643893"/>
              <a:gd name="connsiteY14" fmla="*/ 31184 h 2593409"/>
              <a:gd name="connsiteX15" fmla="*/ 1705680 w 2643893"/>
              <a:gd name="connsiteY15" fmla="*/ 21659 h 2593409"/>
              <a:gd name="connsiteX16" fmla="*/ 1881893 w 2643893"/>
              <a:gd name="connsiteY16" fmla="*/ 12134 h 2593409"/>
              <a:gd name="connsiteX17" fmla="*/ 2329568 w 2643893"/>
              <a:gd name="connsiteY17" fmla="*/ 50234 h 2593409"/>
              <a:gd name="connsiteX18" fmla="*/ 2577218 w 2643893"/>
              <a:gd name="connsiteY18" fmla="*/ 74046 h 2593409"/>
              <a:gd name="connsiteX19" fmla="*/ 2615318 w 2643893"/>
              <a:gd name="connsiteY19" fmla="*/ 45471 h 2593409"/>
              <a:gd name="connsiteX20" fmla="*/ 2629605 w 2643893"/>
              <a:gd name="connsiteY20" fmla="*/ 54996 h 2593409"/>
              <a:gd name="connsiteX21" fmla="*/ 2643893 w 2643893"/>
              <a:gd name="connsiteY21" fmla="*/ 59759 h 2593409"/>
              <a:gd name="connsiteX22" fmla="*/ 2639130 w 2643893"/>
              <a:gd name="connsiteY22" fmla="*/ 2588646 h 2593409"/>
              <a:gd name="connsiteX23" fmla="*/ 705 w 2643893"/>
              <a:gd name="connsiteY23" fmla="*/ 2593409 h 2593409"/>
              <a:gd name="connsiteX24" fmla="*/ 705 w 2643893"/>
              <a:gd name="connsiteY24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224668 w 2643893"/>
              <a:gd name="connsiteY9" fmla="*/ 97859 h 2593409"/>
              <a:gd name="connsiteX10" fmla="*/ 1253243 w 2643893"/>
              <a:gd name="connsiteY10" fmla="*/ 88334 h 2593409"/>
              <a:gd name="connsiteX11" fmla="*/ 1372305 w 2643893"/>
              <a:gd name="connsiteY11" fmla="*/ 69284 h 2593409"/>
              <a:gd name="connsiteX12" fmla="*/ 1524705 w 2643893"/>
              <a:gd name="connsiteY12" fmla="*/ 45471 h 2593409"/>
              <a:gd name="connsiteX13" fmla="*/ 1605668 w 2643893"/>
              <a:gd name="connsiteY13" fmla="*/ 31184 h 2593409"/>
              <a:gd name="connsiteX14" fmla="*/ 1705680 w 2643893"/>
              <a:gd name="connsiteY14" fmla="*/ 21659 h 2593409"/>
              <a:gd name="connsiteX15" fmla="*/ 1881893 w 2643893"/>
              <a:gd name="connsiteY15" fmla="*/ 12134 h 2593409"/>
              <a:gd name="connsiteX16" fmla="*/ 2329568 w 2643893"/>
              <a:gd name="connsiteY16" fmla="*/ 50234 h 2593409"/>
              <a:gd name="connsiteX17" fmla="*/ 2577218 w 2643893"/>
              <a:gd name="connsiteY17" fmla="*/ 74046 h 2593409"/>
              <a:gd name="connsiteX18" fmla="*/ 2615318 w 2643893"/>
              <a:gd name="connsiteY18" fmla="*/ 45471 h 2593409"/>
              <a:gd name="connsiteX19" fmla="*/ 2629605 w 2643893"/>
              <a:gd name="connsiteY19" fmla="*/ 54996 h 2593409"/>
              <a:gd name="connsiteX20" fmla="*/ 2643893 w 2643893"/>
              <a:gd name="connsiteY20" fmla="*/ 59759 h 2593409"/>
              <a:gd name="connsiteX21" fmla="*/ 2639130 w 2643893"/>
              <a:gd name="connsiteY21" fmla="*/ 2588646 h 2593409"/>
              <a:gd name="connsiteX22" fmla="*/ 705 w 2643893"/>
              <a:gd name="connsiteY22" fmla="*/ 2593409 h 2593409"/>
              <a:gd name="connsiteX23" fmla="*/ 705 w 2643893"/>
              <a:gd name="connsiteY23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224668 w 2643893"/>
              <a:gd name="connsiteY9" fmla="*/ 97859 h 2593409"/>
              <a:gd name="connsiteX10" fmla="*/ 1372305 w 2643893"/>
              <a:gd name="connsiteY10" fmla="*/ 69284 h 2593409"/>
              <a:gd name="connsiteX11" fmla="*/ 1524705 w 2643893"/>
              <a:gd name="connsiteY11" fmla="*/ 45471 h 2593409"/>
              <a:gd name="connsiteX12" fmla="*/ 1605668 w 2643893"/>
              <a:gd name="connsiteY12" fmla="*/ 31184 h 2593409"/>
              <a:gd name="connsiteX13" fmla="*/ 1705680 w 2643893"/>
              <a:gd name="connsiteY13" fmla="*/ 21659 h 2593409"/>
              <a:gd name="connsiteX14" fmla="*/ 1881893 w 2643893"/>
              <a:gd name="connsiteY14" fmla="*/ 12134 h 2593409"/>
              <a:gd name="connsiteX15" fmla="*/ 2329568 w 2643893"/>
              <a:gd name="connsiteY15" fmla="*/ 50234 h 2593409"/>
              <a:gd name="connsiteX16" fmla="*/ 2577218 w 2643893"/>
              <a:gd name="connsiteY16" fmla="*/ 74046 h 2593409"/>
              <a:gd name="connsiteX17" fmla="*/ 2615318 w 2643893"/>
              <a:gd name="connsiteY17" fmla="*/ 45471 h 2593409"/>
              <a:gd name="connsiteX18" fmla="*/ 2629605 w 2643893"/>
              <a:gd name="connsiteY18" fmla="*/ 54996 h 2593409"/>
              <a:gd name="connsiteX19" fmla="*/ 2643893 w 2643893"/>
              <a:gd name="connsiteY19" fmla="*/ 59759 h 2593409"/>
              <a:gd name="connsiteX20" fmla="*/ 2639130 w 2643893"/>
              <a:gd name="connsiteY20" fmla="*/ 2588646 h 2593409"/>
              <a:gd name="connsiteX21" fmla="*/ 705 w 2643893"/>
              <a:gd name="connsiteY21" fmla="*/ 2593409 h 2593409"/>
              <a:gd name="connsiteX22" fmla="*/ 705 w 2643893"/>
              <a:gd name="connsiteY22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372305 w 2643893"/>
              <a:gd name="connsiteY9" fmla="*/ 69284 h 2593409"/>
              <a:gd name="connsiteX10" fmla="*/ 1524705 w 2643893"/>
              <a:gd name="connsiteY10" fmla="*/ 45471 h 2593409"/>
              <a:gd name="connsiteX11" fmla="*/ 1605668 w 2643893"/>
              <a:gd name="connsiteY11" fmla="*/ 31184 h 2593409"/>
              <a:gd name="connsiteX12" fmla="*/ 1705680 w 2643893"/>
              <a:gd name="connsiteY12" fmla="*/ 21659 h 2593409"/>
              <a:gd name="connsiteX13" fmla="*/ 1881893 w 2643893"/>
              <a:gd name="connsiteY13" fmla="*/ 12134 h 2593409"/>
              <a:gd name="connsiteX14" fmla="*/ 2329568 w 2643893"/>
              <a:gd name="connsiteY14" fmla="*/ 50234 h 2593409"/>
              <a:gd name="connsiteX15" fmla="*/ 2577218 w 2643893"/>
              <a:gd name="connsiteY15" fmla="*/ 74046 h 2593409"/>
              <a:gd name="connsiteX16" fmla="*/ 2615318 w 2643893"/>
              <a:gd name="connsiteY16" fmla="*/ 45471 h 2593409"/>
              <a:gd name="connsiteX17" fmla="*/ 2629605 w 2643893"/>
              <a:gd name="connsiteY17" fmla="*/ 54996 h 2593409"/>
              <a:gd name="connsiteX18" fmla="*/ 2643893 w 2643893"/>
              <a:gd name="connsiteY18" fmla="*/ 59759 h 2593409"/>
              <a:gd name="connsiteX19" fmla="*/ 2639130 w 2643893"/>
              <a:gd name="connsiteY19" fmla="*/ 2588646 h 2593409"/>
              <a:gd name="connsiteX20" fmla="*/ 705 w 2643893"/>
              <a:gd name="connsiteY20" fmla="*/ 2593409 h 2593409"/>
              <a:gd name="connsiteX21" fmla="*/ 705 w 2643893"/>
              <a:gd name="connsiteY21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372305 w 2643893"/>
              <a:gd name="connsiteY9" fmla="*/ 69284 h 2593409"/>
              <a:gd name="connsiteX10" fmla="*/ 1524705 w 2643893"/>
              <a:gd name="connsiteY10" fmla="*/ 45471 h 2593409"/>
              <a:gd name="connsiteX11" fmla="*/ 1705680 w 2643893"/>
              <a:gd name="connsiteY11" fmla="*/ 21659 h 2593409"/>
              <a:gd name="connsiteX12" fmla="*/ 1881893 w 2643893"/>
              <a:gd name="connsiteY12" fmla="*/ 12134 h 2593409"/>
              <a:gd name="connsiteX13" fmla="*/ 2329568 w 2643893"/>
              <a:gd name="connsiteY13" fmla="*/ 50234 h 2593409"/>
              <a:gd name="connsiteX14" fmla="*/ 2577218 w 2643893"/>
              <a:gd name="connsiteY14" fmla="*/ 74046 h 2593409"/>
              <a:gd name="connsiteX15" fmla="*/ 2615318 w 2643893"/>
              <a:gd name="connsiteY15" fmla="*/ 45471 h 2593409"/>
              <a:gd name="connsiteX16" fmla="*/ 2629605 w 2643893"/>
              <a:gd name="connsiteY16" fmla="*/ 54996 h 2593409"/>
              <a:gd name="connsiteX17" fmla="*/ 2643893 w 2643893"/>
              <a:gd name="connsiteY17" fmla="*/ 59759 h 2593409"/>
              <a:gd name="connsiteX18" fmla="*/ 2639130 w 2643893"/>
              <a:gd name="connsiteY18" fmla="*/ 2588646 h 2593409"/>
              <a:gd name="connsiteX19" fmla="*/ 705 w 2643893"/>
              <a:gd name="connsiteY19" fmla="*/ 2593409 h 2593409"/>
              <a:gd name="connsiteX20" fmla="*/ 705 w 2643893"/>
              <a:gd name="connsiteY20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372305 w 2643893"/>
              <a:gd name="connsiteY9" fmla="*/ 69284 h 2593409"/>
              <a:gd name="connsiteX10" fmla="*/ 1515180 w 2643893"/>
              <a:gd name="connsiteY10" fmla="*/ 26421 h 2593409"/>
              <a:gd name="connsiteX11" fmla="*/ 1705680 w 2643893"/>
              <a:gd name="connsiteY11" fmla="*/ 21659 h 2593409"/>
              <a:gd name="connsiteX12" fmla="*/ 1881893 w 2643893"/>
              <a:gd name="connsiteY12" fmla="*/ 12134 h 2593409"/>
              <a:gd name="connsiteX13" fmla="*/ 2329568 w 2643893"/>
              <a:gd name="connsiteY13" fmla="*/ 50234 h 2593409"/>
              <a:gd name="connsiteX14" fmla="*/ 2577218 w 2643893"/>
              <a:gd name="connsiteY14" fmla="*/ 74046 h 2593409"/>
              <a:gd name="connsiteX15" fmla="*/ 2615318 w 2643893"/>
              <a:gd name="connsiteY15" fmla="*/ 45471 h 2593409"/>
              <a:gd name="connsiteX16" fmla="*/ 2629605 w 2643893"/>
              <a:gd name="connsiteY16" fmla="*/ 54996 h 2593409"/>
              <a:gd name="connsiteX17" fmla="*/ 2643893 w 2643893"/>
              <a:gd name="connsiteY17" fmla="*/ 59759 h 2593409"/>
              <a:gd name="connsiteX18" fmla="*/ 2639130 w 2643893"/>
              <a:gd name="connsiteY18" fmla="*/ 2588646 h 2593409"/>
              <a:gd name="connsiteX19" fmla="*/ 705 w 2643893"/>
              <a:gd name="connsiteY19" fmla="*/ 2593409 h 2593409"/>
              <a:gd name="connsiteX20" fmla="*/ 705 w 2643893"/>
              <a:gd name="connsiteY20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372305 w 2643893"/>
              <a:gd name="connsiteY9" fmla="*/ 69284 h 2593409"/>
              <a:gd name="connsiteX10" fmla="*/ 1705680 w 2643893"/>
              <a:gd name="connsiteY10" fmla="*/ 21659 h 2593409"/>
              <a:gd name="connsiteX11" fmla="*/ 1881893 w 2643893"/>
              <a:gd name="connsiteY11" fmla="*/ 12134 h 2593409"/>
              <a:gd name="connsiteX12" fmla="*/ 2329568 w 2643893"/>
              <a:gd name="connsiteY12" fmla="*/ 50234 h 2593409"/>
              <a:gd name="connsiteX13" fmla="*/ 2577218 w 2643893"/>
              <a:gd name="connsiteY13" fmla="*/ 74046 h 2593409"/>
              <a:gd name="connsiteX14" fmla="*/ 2615318 w 2643893"/>
              <a:gd name="connsiteY14" fmla="*/ 45471 h 2593409"/>
              <a:gd name="connsiteX15" fmla="*/ 2629605 w 2643893"/>
              <a:gd name="connsiteY15" fmla="*/ 54996 h 2593409"/>
              <a:gd name="connsiteX16" fmla="*/ 2643893 w 2643893"/>
              <a:gd name="connsiteY16" fmla="*/ 59759 h 2593409"/>
              <a:gd name="connsiteX17" fmla="*/ 2639130 w 2643893"/>
              <a:gd name="connsiteY17" fmla="*/ 2588646 h 2593409"/>
              <a:gd name="connsiteX18" fmla="*/ 705 w 2643893"/>
              <a:gd name="connsiteY18" fmla="*/ 2593409 h 2593409"/>
              <a:gd name="connsiteX19" fmla="*/ 705 w 2643893"/>
              <a:gd name="connsiteY19" fmla="*/ 569346 h 2593409"/>
              <a:gd name="connsiteX0" fmla="*/ 705 w 2643893"/>
              <a:gd name="connsiteY0" fmla="*/ 569346 h 2593409"/>
              <a:gd name="connsiteX1" fmla="*/ 10230 w 2643893"/>
              <a:gd name="connsiteY1" fmla="*/ 578871 h 2593409"/>
              <a:gd name="connsiteX2" fmla="*/ 105480 w 2643893"/>
              <a:gd name="connsiteY2" fmla="*/ 531246 h 2593409"/>
              <a:gd name="connsiteX3" fmla="*/ 257880 w 2643893"/>
              <a:gd name="connsiteY3" fmla="*/ 431234 h 2593409"/>
              <a:gd name="connsiteX4" fmla="*/ 395993 w 2643893"/>
              <a:gd name="connsiteY4" fmla="*/ 374084 h 2593409"/>
              <a:gd name="connsiteX5" fmla="*/ 548393 w 2643893"/>
              <a:gd name="connsiteY5" fmla="*/ 312171 h 2593409"/>
              <a:gd name="connsiteX6" fmla="*/ 662693 w 2643893"/>
              <a:gd name="connsiteY6" fmla="*/ 283596 h 2593409"/>
              <a:gd name="connsiteX7" fmla="*/ 791280 w 2643893"/>
              <a:gd name="connsiteY7" fmla="*/ 207396 h 2593409"/>
              <a:gd name="connsiteX8" fmla="*/ 1000830 w 2643893"/>
              <a:gd name="connsiteY8" fmla="*/ 135959 h 2593409"/>
              <a:gd name="connsiteX9" fmla="*/ 1334205 w 2643893"/>
              <a:gd name="connsiteY9" fmla="*/ 59759 h 2593409"/>
              <a:gd name="connsiteX10" fmla="*/ 1705680 w 2643893"/>
              <a:gd name="connsiteY10" fmla="*/ 21659 h 2593409"/>
              <a:gd name="connsiteX11" fmla="*/ 1881893 w 2643893"/>
              <a:gd name="connsiteY11" fmla="*/ 12134 h 2593409"/>
              <a:gd name="connsiteX12" fmla="*/ 2329568 w 2643893"/>
              <a:gd name="connsiteY12" fmla="*/ 50234 h 2593409"/>
              <a:gd name="connsiteX13" fmla="*/ 2577218 w 2643893"/>
              <a:gd name="connsiteY13" fmla="*/ 74046 h 2593409"/>
              <a:gd name="connsiteX14" fmla="*/ 2615318 w 2643893"/>
              <a:gd name="connsiteY14" fmla="*/ 45471 h 2593409"/>
              <a:gd name="connsiteX15" fmla="*/ 2629605 w 2643893"/>
              <a:gd name="connsiteY15" fmla="*/ 54996 h 2593409"/>
              <a:gd name="connsiteX16" fmla="*/ 2643893 w 2643893"/>
              <a:gd name="connsiteY16" fmla="*/ 59759 h 2593409"/>
              <a:gd name="connsiteX17" fmla="*/ 2639130 w 2643893"/>
              <a:gd name="connsiteY17" fmla="*/ 2588646 h 2593409"/>
              <a:gd name="connsiteX18" fmla="*/ 705 w 2643893"/>
              <a:gd name="connsiteY18" fmla="*/ 2593409 h 2593409"/>
              <a:gd name="connsiteX19" fmla="*/ 705 w 2643893"/>
              <a:gd name="connsiteY19" fmla="*/ 569346 h 2593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2643893" h="2593409">
                <a:moveTo>
                  <a:pt x="705" y="569346"/>
                </a:moveTo>
                <a:lnTo>
                  <a:pt x="10230" y="578871"/>
                </a:lnTo>
                <a:cubicBezTo>
                  <a:pt x="22930" y="572521"/>
                  <a:pt x="64205" y="555852"/>
                  <a:pt x="105480" y="531246"/>
                </a:cubicBezTo>
                <a:cubicBezTo>
                  <a:pt x="146755" y="506640"/>
                  <a:pt x="209461" y="457428"/>
                  <a:pt x="257880" y="431234"/>
                </a:cubicBezTo>
                <a:cubicBezTo>
                  <a:pt x="306299" y="405040"/>
                  <a:pt x="347574" y="393928"/>
                  <a:pt x="395993" y="374084"/>
                </a:cubicBezTo>
                <a:cubicBezTo>
                  <a:pt x="444412" y="354240"/>
                  <a:pt x="507118" y="324077"/>
                  <a:pt x="548393" y="312171"/>
                </a:cubicBezTo>
                <a:cubicBezTo>
                  <a:pt x="563474" y="305027"/>
                  <a:pt x="647612" y="291533"/>
                  <a:pt x="662693" y="283596"/>
                </a:cubicBezTo>
                <a:cubicBezTo>
                  <a:pt x="693649" y="272484"/>
                  <a:pt x="734924" y="232002"/>
                  <a:pt x="791280" y="207396"/>
                </a:cubicBezTo>
                <a:cubicBezTo>
                  <a:pt x="847636" y="182790"/>
                  <a:pt x="910343" y="160565"/>
                  <a:pt x="1000830" y="135959"/>
                </a:cubicBezTo>
                <a:cubicBezTo>
                  <a:pt x="1091317" y="111353"/>
                  <a:pt x="1216730" y="78809"/>
                  <a:pt x="1334205" y="59759"/>
                </a:cubicBezTo>
                <a:cubicBezTo>
                  <a:pt x="1451680" y="40709"/>
                  <a:pt x="1614399" y="29597"/>
                  <a:pt x="1705680" y="21659"/>
                </a:cubicBezTo>
                <a:cubicBezTo>
                  <a:pt x="1796961" y="13721"/>
                  <a:pt x="1754316" y="21246"/>
                  <a:pt x="1881893" y="12134"/>
                </a:cubicBezTo>
                <a:cubicBezTo>
                  <a:pt x="2038133" y="-26930"/>
                  <a:pt x="2213681" y="39915"/>
                  <a:pt x="2329568" y="50234"/>
                </a:cubicBezTo>
                <a:lnTo>
                  <a:pt x="2577218" y="74046"/>
                </a:lnTo>
                <a:cubicBezTo>
                  <a:pt x="2586269" y="75856"/>
                  <a:pt x="2606587" y="48646"/>
                  <a:pt x="2615318" y="45471"/>
                </a:cubicBezTo>
                <a:cubicBezTo>
                  <a:pt x="2624049" y="42296"/>
                  <a:pt x="2624486" y="52436"/>
                  <a:pt x="2629605" y="54996"/>
                </a:cubicBezTo>
                <a:cubicBezTo>
                  <a:pt x="2634095" y="57241"/>
                  <a:pt x="2643893" y="59759"/>
                  <a:pt x="2643893" y="59759"/>
                </a:cubicBezTo>
                <a:cubicBezTo>
                  <a:pt x="2642305" y="902721"/>
                  <a:pt x="2640718" y="1745684"/>
                  <a:pt x="2639130" y="2588646"/>
                </a:cubicBezTo>
                <a:lnTo>
                  <a:pt x="705" y="2593409"/>
                </a:lnTo>
                <a:cubicBezTo>
                  <a:pt x="-882" y="1963171"/>
                  <a:pt x="705" y="881290"/>
                  <a:pt x="705" y="569346"/>
                </a:cubicBez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 cap="flat" cmpd="sng">
            <a:noFill/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Freeform 9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2463" y="2684968"/>
            <a:ext cx="8096001" cy="3494061"/>
          </a:xfrm>
          <a:custGeom>
            <a:avLst/>
            <a:gdLst>
              <a:gd name="T0" fmla="*/ 0 w 5216"/>
              <a:gd name="T1" fmla="*/ 0 h 1996"/>
              <a:gd name="T2" fmla="*/ 0 w 5216"/>
              <a:gd name="T3" fmla="*/ 3763963 h 1996"/>
              <a:gd name="T4" fmla="*/ 8186737 w 5216"/>
              <a:gd name="T5" fmla="*/ 3763963 h 1996"/>
              <a:gd name="T6" fmla="*/ 0 60000 65536"/>
              <a:gd name="T7" fmla="*/ 0 60000 65536"/>
              <a:gd name="T8" fmla="*/ 0 60000 65536"/>
              <a:gd name="T9" fmla="*/ 0 w 5216"/>
              <a:gd name="T10" fmla="*/ 0 h 1996"/>
              <a:gd name="T11" fmla="*/ 5216 w 5216"/>
              <a:gd name="T12" fmla="*/ 1996 h 199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5216" h="1996">
                <a:moveTo>
                  <a:pt x="0" y="0"/>
                </a:moveTo>
                <a:lnTo>
                  <a:pt x="0" y="1996"/>
                </a:lnTo>
                <a:lnTo>
                  <a:pt x="5216" y="1996"/>
                </a:lnTo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triangle" w="med" len="med"/>
            <a:tailEnd type="triangle" w="med" len="med"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10" name="Text Box 9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 rot="-5400000">
            <a:off x="-745303" y="3729794"/>
            <a:ext cx="2350341" cy="36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2776" tIns="42776" rIns="42776" bIns="42776">
            <a:spAutoFit/>
          </a:bodyPr>
          <a:lstStyle/>
          <a:p>
            <a:pPr defTabSz="855663" eaLnBrk="0" hangingPunct="0"/>
            <a:r>
              <a:rPr lang="en-US" b="1" dirty="0" smtClean="0">
                <a:solidFill>
                  <a:schemeClr val="tx2"/>
                </a:solidFill>
                <a:latin typeface="Calibri" pitchFamily="34" charset="0"/>
              </a:rPr>
              <a:t>Impact of COP Initiative</a:t>
            </a:r>
            <a:endParaRPr lang="en-US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1" name="Text Box 9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55576" y="3386464"/>
            <a:ext cx="254412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855663" eaLnBrk="0" hangingPunct="0"/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</a:rPr>
              <a:t>Small group of partners</a:t>
            </a:r>
            <a:endParaRPr lang="en-US" sz="24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2" name="Text Box 9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50007" y="2666384"/>
            <a:ext cx="224612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855663" eaLnBrk="0" hangingPunct="0"/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</a:rPr>
              <a:t>Working together</a:t>
            </a:r>
            <a:br>
              <a:rPr lang="en-US" sz="2400" b="1" dirty="0" smtClean="0">
                <a:solidFill>
                  <a:schemeClr val="tx2"/>
                </a:solidFill>
                <a:latin typeface="Calibri" pitchFamily="34" charset="0"/>
              </a:rPr>
            </a:br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</a:rPr>
              <a:t>on project-basis</a:t>
            </a:r>
            <a:endParaRPr lang="en-US" sz="2400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13" name="Freeform 96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680959" y="4206198"/>
            <a:ext cx="2662736" cy="602609"/>
          </a:xfrm>
          <a:custGeom>
            <a:avLst/>
            <a:gdLst>
              <a:gd name="T0" fmla="*/ 0 w 1565"/>
              <a:gd name="T1" fmla="*/ 730250 h 512"/>
              <a:gd name="T2" fmla="*/ 846611 w 1565"/>
              <a:gd name="T3" fmla="*/ 236761 h 512"/>
              <a:gd name="T4" fmla="*/ 1761526 w 1565"/>
              <a:gd name="T5" fmla="*/ 31378 h 512"/>
              <a:gd name="T6" fmla="*/ 2813050 w 1565"/>
              <a:gd name="T7" fmla="*/ 45641 h 512"/>
              <a:gd name="T8" fmla="*/ 0 60000 65536"/>
              <a:gd name="T9" fmla="*/ 0 60000 65536"/>
              <a:gd name="T10" fmla="*/ 0 60000 65536"/>
              <a:gd name="T11" fmla="*/ 0 60000 65536"/>
              <a:gd name="T12" fmla="*/ 0 w 1565"/>
              <a:gd name="T13" fmla="*/ 0 h 512"/>
              <a:gd name="T14" fmla="*/ 1565 w 1565"/>
              <a:gd name="T15" fmla="*/ 512 h 512"/>
              <a:gd name="connsiteX0" fmla="*/ 0 w 10036"/>
              <a:gd name="connsiteY0" fmla="*/ 7901 h 7901"/>
              <a:gd name="connsiteX1" fmla="*/ 3046 w 10036"/>
              <a:gd name="connsiteY1" fmla="*/ 2969 h 7901"/>
              <a:gd name="connsiteX2" fmla="*/ 6298 w 10036"/>
              <a:gd name="connsiteY2" fmla="*/ 157 h 7901"/>
              <a:gd name="connsiteX3" fmla="*/ 10036 w 10036"/>
              <a:gd name="connsiteY3" fmla="*/ 352 h 7901"/>
              <a:gd name="connsiteX0" fmla="*/ 0 w 10000"/>
              <a:gd name="connsiteY0" fmla="*/ 9887 h 9887"/>
              <a:gd name="connsiteX1" fmla="*/ 3035 w 10000"/>
              <a:gd name="connsiteY1" fmla="*/ 3645 h 9887"/>
              <a:gd name="connsiteX2" fmla="*/ 6275 w 10000"/>
              <a:gd name="connsiteY2" fmla="*/ 86 h 9887"/>
              <a:gd name="connsiteX3" fmla="*/ 10000 w 10000"/>
              <a:gd name="connsiteY3" fmla="*/ 1819 h 9887"/>
              <a:gd name="connsiteX0" fmla="*/ 0 w 10035"/>
              <a:gd name="connsiteY0" fmla="*/ 10020 h 10020"/>
              <a:gd name="connsiteX1" fmla="*/ 3035 w 10035"/>
              <a:gd name="connsiteY1" fmla="*/ 3707 h 10020"/>
              <a:gd name="connsiteX2" fmla="*/ 6275 w 10035"/>
              <a:gd name="connsiteY2" fmla="*/ 107 h 10020"/>
              <a:gd name="connsiteX3" fmla="*/ 10035 w 10035"/>
              <a:gd name="connsiteY3" fmla="*/ 1359 h 10020"/>
              <a:gd name="connsiteX0" fmla="*/ 0 w 10035"/>
              <a:gd name="connsiteY0" fmla="*/ 10063 h 10063"/>
              <a:gd name="connsiteX1" fmla="*/ 3035 w 10035"/>
              <a:gd name="connsiteY1" fmla="*/ 3750 h 10063"/>
              <a:gd name="connsiteX2" fmla="*/ 6275 w 10035"/>
              <a:gd name="connsiteY2" fmla="*/ 150 h 10063"/>
              <a:gd name="connsiteX3" fmla="*/ 10035 w 10035"/>
              <a:gd name="connsiteY3" fmla="*/ 1402 h 10063"/>
              <a:gd name="connsiteX0" fmla="*/ 0 w 10035"/>
              <a:gd name="connsiteY0" fmla="*/ 10063 h 10063"/>
              <a:gd name="connsiteX1" fmla="*/ 3035 w 10035"/>
              <a:gd name="connsiteY1" fmla="*/ 3750 h 10063"/>
              <a:gd name="connsiteX2" fmla="*/ 4406 w 10035"/>
              <a:gd name="connsiteY2" fmla="*/ 1344 h 10063"/>
              <a:gd name="connsiteX3" fmla="*/ 6275 w 10035"/>
              <a:gd name="connsiteY3" fmla="*/ 150 h 10063"/>
              <a:gd name="connsiteX4" fmla="*/ 10035 w 10035"/>
              <a:gd name="connsiteY4" fmla="*/ 1402 h 10063"/>
              <a:gd name="connsiteX0" fmla="*/ 0 w 10035"/>
              <a:gd name="connsiteY0" fmla="*/ 10063 h 10063"/>
              <a:gd name="connsiteX1" fmla="*/ 3035 w 10035"/>
              <a:gd name="connsiteY1" fmla="*/ 3750 h 10063"/>
              <a:gd name="connsiteX2" fmla="*/ 4264 w 10035"/>
              <a:gd name="connsiteY2" fmla="*/ 2012 h 10063"/>
              <a:gd name="connsiteX3" fmla="*/ 6275 w 10035"/>
              <a:gd name="connsiteY3" fmla="*/ 150 h 10063"/>
              <a:gd name="connsiteX4" fmla="*/ 10035 w 10035"/>
              <a:gd name="connsiteY4" fmla="*/ 1402 h 10063"/>
              <a:gd name="connsiteX0" fmla="*/ 0 w 10035"/>
              <a:gd name="connsiteY0" fmla="*/ 10063 h 10063"/>
              <a:gd name="connsiteX1" fmla="*/ 1796 w 10035"/>
              <a:gd name="connsiteY1" fmla="*/ 5587 h 10063"/>
              <a:gd name="connsiteX2" fmla="*/ 4264 w 10035"/>
              <a:gd name="connsiteY2" fmla="*/ 2012 h 10063"/>
              <a:gd name="connsiteX3" fmla="*/ 6275 w 10035"/>
              <a:gd name="connsiteY3" fmla="*/ 150 h 10063"/>
              <a:gd name="connsiteX4" fmla="*/ 10035 w 10035"/>
              <a:gd name="connsiteY4" fmla="*/ 1402 h 10063"/>
              <a:gd name="connsiteX0" fmla="*/ 0 w 10035"/>
              <a:gd name="connsiteY0" fmla="*/ 10063 h 10063"/>
              <a:gd name="connsiteX1" fmla="*/ 1796 w 10035"/>
              <a:gd name="connsiteY1" fmla="*/ 5587 h 10063"/>
              <a:gd name="connsiteX2" fmla="*/ 3910 w 10035"/>
              <a:gd name="connsiteY2" fmla="*/ 1678 h 10063"/>
              <a:gd name="connsiteX3" fmla="*/ 6275 w 10035"/>
              <a:gd name="connsiteY3" fmla="*/ 150 h 10063"/>
              <a:gd name="connsiteX4" fmla="*/ 10035 w 10035"/>
              <a:gd name="connsiteY4" fmla="*/ 1402 h 10063"/>
              <a:gd name="connsiteX0" fmla="*/ 0 w 9964"/>
              <a:gd name="connsiteY0" fmla="*/ 9395 h 9395"/>
              <a:gd name="connsiteX1" fmla="*/ 1725 w 9964"/>
              <a:gd name="connsiteY1" fmla="*/ 5587 h 9395"/>
              <a:gd name="connsiteX2" fmla="*/ 3839 w 9964"/>
              <a:gd name="connsiteY2" fmla="*/ 1678 h 9395"/>
              <a:gd name="connsiteX3" fmla="*/ 6204 w 9964"/>
              <a:gd name="connsiteY3" fmla="*/ 150 h 9395"/>
              <a:gd name="connsiteX4" fmla="*/ 9964 w 9964"/>
              <a:gd name="connsiteY4" fmla="*/ 1402 h 9395"/>
              <a:gd name="connsiteX0" fmla="*/ 0 w 10000"/>
              <a:gd name="connsiteY0" fmla="*/ 10000 h 10000"/>
              <a:gd name="connsiteX1" fmla="*/ 1553 w 10000"/>
              <a:gd name="connsiteY1" fmla="*/ 5414 h 10000"/>
              <a:gd name="connsiteX2" fmla="*/ 3853 w 10000"/>
              <a:gd name="connsiteY2" fmla="*/ 1786 h 10000"/>
              <a:gd name="connsiteX3" fmla="*/ 6226 w 10000"/>
              <a:gd name="connsiteY3" fmla="*/ 160 h 10000"/>
              <a:gd name="connsiteX4" fmla="*/ 10000 w 10000"/>
              <a:gd name="connsiteY4" fmla="*/ 1492 h 10000"/>
              <a:gd name="connsiteX0" fmla="*/ 0 w 10000"/>
              <a:gd name="connsiteY0" fmla="*/ 10000 h 10000"/>
              <a:gd name="connsiteX1" fmla="*/ 1802 w 10000"/>
              <a:gd name="connsiteY1" fmla="*/ 5414 h 10000"/>
              <a:gd name="connsiteX2" fmla="*/ 3853 w 10000"/>
              <a:gd name="connsiteY2" fmla="*/ 1786 h 10000"/>
              <a:gd name="connsiteX3" fmla="*/ 6226 w 10000"/>
              <a:gd name="connsiteY3" fmla="*/ 160 h 10000"/>
              <a:gd name="connsiteX4" fmla="*/ 10000 w 10000"/>
              <a:gd name="connsiteY4" fmla="*/ 1492 h 10000"/>
              <a:gd name="connsiteX0" fmla="*/ 0 w 9929"/>
              <a:gd name="connsiteY0" fmla="*/ 11244 h 11244"/>
              <a:gd name="connsiteX1" fmla="*/ 1731 w 9929"/>
              <a:gd name="connsiteY1" fmla="*/ 5414 h 11244"/>
              <a:gd name="connsiteX2" fmla="*/ 3782 w 9929"/>
              <a:gd name="connsiteY2" fmla="*/ 1786 h 11244"/>
              <a:gd name="connsiteX3" fmla="*/ 6155 w 9929"/>
              <a:gd name="connsiteY3" fmla="*/ 160 h 11244"/>
              <a:gd name="connsiteX4" fmla="*/ 9929 w 9929"/>
              <a:gd name="connsiteY4" fmla="*/ 1492 h 11244"/>
              <a:gd name="connsiteX0" fmla="*/ 0 w 10000"/>
              <a:gd name="connsiteY0" fmla="*/ 10000 h 10000"/>
              <a:gd name="connsiteX1" fmla="*/ 1815 w 10000"/>
              <a:gd name="connsiteY1" fmla="*/ 5289 h 10000"/>
              <a:gd name="connsiteX2" fmla="*/ 3809 w 10000"/>
              <a:gd name="connsiteY2" fmla="*/ 1588 h 10000"/>
              <a:gd name="connsiteX3" fmla="*/ 6199 w 10000"/>
              <a:gd name="connsiteY3" fmla="*/ 142 h 10000"/>
              <a:gd name="connsiteX4" fmla="*/ 10000 w 10000"/>
              <a:gd name="connsiteY4" fmla="*/ 13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10000"/>
                </a:moveTo>
                <a:cubicBezTo>
                  <a:pt x="502" y="8604"/>
                  <a:pt x="1181" y="6691"/>
                  <a:pt x="1815" y="5289"/>
                </a:cubicBezTo>
                <a:cubicBezTo>
                  <a:pt x="2450" y="3887"/>
                  <a:pt x="3263" y="2157"/>
                  <a:pt x="3809" y="1588"/>
                </a:cubicBezTo>
                <a:cubicBezTo>
                  <a:pt x="4355" y="1020"/>
                  <a:pt x="5251" y="133"/>
                  <a:pt x="6199" y="142"/>
                </a:cubicBezTo>
                <a:cubicBezTo>
                  <a:pt x="7371" y="-380"/>
                  <a:pt x="9250" y="647"/>
                  <a:pt x="10000" y="1327"/>
                </a:cubicBezTo>
              </a:path>
            </a:pathLst>
          </a:custGeom>
          <a:noFill/>
          <a:ln w="76200" cap="flat" cmpd="sng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14" name="Freeform 98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5957888" y="2751115"/>
            <a:ext cx="2718568" cy="600075"/>
          </a:xfrm>
          <a:custGeom>
            <a:avLst/>
            <a:gdLst>
              <a:gd name="T0" fmla="*/ 0 w 1832"/>
              <a:gd name="T1" fmla="*/ 600075 h 540"/>
              <a:gd name="T2" fmla="*/ 799289 w 1832"/>
              <a:gd name="T3" fmla="*/ 215582 h 540"/>
              <a:gd name="T4" fmla="*/ 1662289 w 1832"/>
              <a:gd name="T5" fmla="*/ 55562 h 540"/>
              <a:gd name="T6" fmla="*/ 2652712 w 1832"/>
              <a:gd name="T7" fmla="*/ 0 h 540"/>
              <a:gd name="T8" fmla="*/ 0 60000 65536"/>
              <a:gd name="T9" fmla="*/ 0 60000 65536"/>
              <a:gd name="T10" fmla="*/ 0 60000 65536"/>
              <a:gd name="T11" fmla="*/ 0 60000 65536"/>
              <a:gd name="T12" fmla="*/ 0 w 1832"/>
              <a:gd name="T13" fmla="*/ 0 h 540"/>
              <a:gd name="T14" fmla="*/ 1832 w 1832"/>
              <a:gd name="T15" fmla="*/ 540 h 54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832" h="540">
                <a:moveTo>
                  <a:pt x="0" y="540"/>
                </a:moveTo>
                <a:cubicBezTo>
                  <a:pt x="91" y="481"/>
                  <a:pt x="361" y="276"/>
                  <a:pt x="552" y="194"/>
                </a:cubicBezTo>
                <a:cubicBezTo>
                  <a:pt x="743" y="112"/>
                  <a:pt x="935" y="82"/>
                  <a:pt x="1148" y="50"/>
                </a:cubicBezTo>
                <a:cubicBezTo>
                  <a:pt x="1361" y="18"/>
                  <a:pt x="1690" y="10"/>
                  <a:pt x="1832" y="0"/>
                </a:cubicBezTo>
              </a:path>
            </a:pathLst>
          </a:custGeom>
          <a:noFill/>
          <a:ln w="76200" cap="flat" cmpd="sng">
            <a:solidFill>
              <a:schemeClr val="accent6"/>
            </a:solidFill>
            <a:prstDash val="sysDash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/>
          </a:p>
        </p:txBody>
      </p:sp>
      <p:sp>
        <p:nvSpPr>
          <p:cNvPr id="15" name="Text Box 9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112353" y="1826240"/>
            <a:ext cx="249869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855663" eaLnBrk="0" hangingPunct="0"/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</a:rPr>
              <a:t>Working together</a:t>
            </a:r>
          </a:p>
          <a:p>
            <a:pPr algn="ctr" defTabSz="855663" eaLnBrk="0" hangingPunct="0"/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</a:rPr>
              <a:t>to maximize impact</a:t>
            </a:r>
            <a:endParaRPr lang="en-US" sz="2400" b="1" dirty="0" smtClean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16" name="AutoShape 100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-5400000">
            <a:off x="5754688" y="3329116"/>
            <a:ext cx="488950" cy="241300"/>
          </a:xfrm>
          <a:prstGeom prst="rightArrow">
            <a:avLst>
              <a:gd name="adj1" fmla="val 43333"/>
              <a:gd name="adj2" fmla="val 112770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 defTabSz="895350">
              <a:buSzPct val="120000"/>
            </a:pPr>
            <a:endParaRPr lang="en-US" sz="800" b="1" dirty="0"/>
          </a:p>
        </p:txBody>
      </p:sp>
      <p:sp>
        <p:nvSpPr>
          <p:cNvPr id="17" name="Rectangle 10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386138" y="4206198"/>
            <a:ext cx="2571750" cy="21648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ct val="25000"/>
              </a:spcBef>
            </a:pPr>
            <a:endParaRPr lang="en-GB" sz="1300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8" name="Text Box 109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076435" y="6233966"/>
            <a:ext cx="554464" cy="36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2776" tIns="42776" rIns="42776" bIns="42776">
            <a:spAutoFit/>
          </a:bodyPr>
          <a:lstStyle/>
          <a:p>
            <a:pPr defTabSz="855663" eaLnBrk="0" hangingPunct="0"/>
            <a:r>
              <a:rPr lang="en-US" b="1" dirty="0" smtClean="0">
                <a:solidFill>
                  <a:schemeClr val="tx2"/>
                </a:solidFill>
                <a:latin typeface="Calibri" pitchFamily="34" charset="0"/>
              </a:rPr>
              <a:t>2014</a:t>
            </a:r>
            <a:endParaRPr lang="en-US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9" name="AutoShape 33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652120" y="6070505"/>
            <a:ext cx="209550" cy="182562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9525">
            <a:solidFill>
              <a:schemeClr val="accent6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 eaLnBrk="0" hangingPunct="0"/>
            <a:endParaRPr lang="en-US" sz="1400" b="1" dirty="0">
              <a:solidFill>
                <a:schemeClr val="bg2"/>
              </a:solidFill>
            </a:endParaRPr>
          </a:p>
        </p:txBody>
      </p:sp>
      <p:sp>
        <p:nvSpPr>
          <p:cNvPr id="20" name="Text Box 113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436096" y="5637296"/>
            <a:ext cx="629806" cy="36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2776" tIns="42776" rIns="42776" bIns="42776">
            <a:spAutoFit/>
          </a:bodyPr>
          <a:lstStyle/>
          <a:p>
            <a:pPr defTabSz="855663" eaLnBrk="0" hangingPunct="0"/>
            <a:r>
              <a:rPr lang="en-US" b="1" dirty="0" smtClean="0">
                <a:solidFill>
                  <a:schemeClr val="accent1"/>
                </a:solidFill>
                <a:latin typeface="Calibri" pitchFamily="34" charset="0"/>
              </a:rPr>
              <a:t>today</a:t>
            </a:r>
            <a:endParaRPr lang="en-US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sp>
        <p:nvSpPr>
          <p:cNvPr id="21" name="AutoShape 100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 rot="16200000">
            <a:off x="3122820" y="3996619"/>
            <a:ext cx="450087" cy="241300"/>
          </a:xfrm>
          <a:prstGeom prst="rightArrow">
            <a:avLst>
              <a:gd name="adj1" fmla="val 43333"/>
              <a:gd name="adj2" fmla="val 112770"/>
            </a:avLst>
          </a:prstGeom>
          <a:solidFill>
            <a:schemeClr val="accent6"/>
          </a:solidFill>
          <a:ln w="9525" algn="ctr">
            <a:noFill/>
            <a:miter lim="800000"/>
            <a:headEnd/>
            <a:tailEnd/>
          </a:ln>
        </p:spPr>
        <p:txBody>
          <a:bodyPr vert="eaVert" wrap="none" anchor="ctr"/>
          <a:lstStyle/>
          <a:p>
            <a:pPr algn="ctr" defTabSz="895350">
              <a:buSzPct val="120000"/>
            </a:pPr>
            <a:endParaRPr lang="en-US" sz="800" b="1" dirty="0"/>
          </a:p>
        </p:txBody>
      </p:sp>
      <p:sp>
        <p:nvSpPr>
          <p:cNvPr id="22" name="Freeform 21"/>
          <p:cNvSpPr/>
          <p:nvPr/>
        </p:nvSpPr>
        <p:spPr>
          <a:xfrm>
            <a:off x="3386138" y="3560876"/>
            <a:ext cx="2628900" cy="503677"/>
          </a:xfrm>
          <a:custGeom>
            <a:avLst/>
            <a:gdLst>
              <a:gd name="connsiteX0" fmla="*/ 0 w 2609850"/>
              <a:gd name="connsiteY0" fmla="*/ 457278 h 457278"/>
              <a:gd name="connsiteX1" fmla="*/ 200025 w 2609850"/>
              <a:gd name="connsiteY1" fmla="*/ 390603 h 457278"/>
              <a:gd name="connsiteX2" fmla="*/ 447675 w 2609850"/>
              <a:gd name="connsiteY2" fmla="*/ 285828 h 457278"/>
              <a:gd name="connsiteX3" fmla="*/ 742950 w 2609850"/>
              <a:gd name="connsiteY3" fmla="*/ 162003 h 457278"/>
              <a:gd name="connsiteX4" fmla="*/ 1028700 w 2609850"/>
              <a:gd name="connsiteY4" fmla="*/ 85803 h 457278"/>
              <a:gd name="connsiteX5" fmla="*/ 1323975 w 2609850"/>
              <a:gd name="connsiteY5" fmla="*/ 28653 h 457278"/>
              <a:gd name="connsiteX6" fmla="*/ 1619250 w 2609850"/>
              <a:gd name="connsiteY6" fmla="*/ 9603 h 457278"/>
              <a:gd name="connsiteX7" fmla="*/ 1933575 w 2609850"/>
              <a:gd name="connsiteY7" fmla="*/ 78 h 457278"/>
              <a:gd name="connsiteX8" fmla="*/ 2238375 w 2609850"/>
              <a:gd name="connsiteY8" fmla="*/ 9603 h 457278"/>
              <a:gd name="connsiteX9" fmla="*/ 2609850 w 2609850"/>
              <a:gd name="connsiteY9" fmla="*/ 66753 h 457278"/>
              <a:gd name="connsiteX0" fmla="*/ 0 w 2628900"/>
              <a:gd name="connsiteY0" fmla="*/ 504903 h 504903"/>
              <a:gd name="connsiteX1" fmla="*/ 219075 w 2628900"/>
              <a:gd name="connsiteY1" fmla="*/ 390603 h 504903"/>
              <a:gd name="connsiteX2" fmla="*/ 466725 w 2628900"/>
              <a:gd name="connsiteY2" fmla="*/ 285828 h 504903"/>
              <a:gd name="connsiteX3" fmla="*/ 762000 w 2628900"/>
              <a:gd name="connsiteY3" fmla="*/ 162003 h 504903"/>
              <a:gd name="connsiteX4" fmla="*/ 1047750 w 2628900"/>
              <a:gd name="connsiteY4" fmla="*/ 85803 h 504903"/>
              <a:gd name="connsiteX5" fmla="*/ 1343025 w 2628900"/>
              <a:gd name="connsiteY5" fmla="*/ 28653 h 504903"/>
              <a:gd name="connsiteX6" fmla="*/ 1638300 w 2628900"/>
              <a:gd name="connsiteY6" fmla="*/ 9603 h 504903"/>
              <a:gd name="connsiteX7" fmla="*/ 1952625 w 2628900"/>
              <a:gd name="connsiteY7" fmla="*/ 78 h 504903"/>
              <a:gd name="connsiteX8" fmla="*/ 2257425 w 2628900"/>
              <a:gd name="connsiteY8" fmla="*/ 9603 h 504903"/>
              <a:gd name="connsiteX9" fmla="*/ 2628900 w 2628900"/>
              <a:gd name="connsiteY9" fmla="*/ 66753 h 504903"/>
              <a:gd name="connsiteX0" fmla="*/ 0 w 2628900"/>
              <a:gd name="connsiteY0" fmla="*/ 504903 h 504903"/>
              <a:gd name="connsiteX1" fmla="*/ 219075 w 2628900"/>
              <a:gd name="connsiteY1" fmla="*/ 390603 h 504903"/>
              <a:gd name="connsiteX2" fmla="*/ 762000 w 2628900"/>
              <a:gd name="connsiteY2" fmla="*/ 162003 h 504903"/>
              <a:gd name="connsiteX3" fmla="*/ 1047750 w 2628900"/>
              <a:gd name="connsiteY3" fmla="*/ 85803 h 504903"/>
              <a:gd name="connsiteX4" fmla="*/ 1343025 w 2628900"/>
              <a:gd name="connsiteY4" fmla="*/ 28653 h 504903"/>
              <a:gd name="connsiteX5" fmla="*/ 1638300 w 2628900"/>
              <a:gd name="connsiteY5" fmla="*/ 9603 h 504903"/>
              <a:gd name="connsiteX6" fmla="*/ 1952625 w 2628900"/>
              <a:gd name="connsiteY6" fmla="*/ 78 h 504903"/>
              <a:gd name="connsiteX7" fmla="*/ 2257425 w 2628900"/>
              <a:gd name="connsiteY7" fmla="*/ 9603 h 504903"/>
              <a:gd name="connsiteX8" fmla="*/ 2628900 w 2628900"/>
              <a:gd name="connsiteY8" fmla="*/ 66753 h 504903"/>
              <a:gd name="connsiteX0" fmla="*/ 0 w 2628900"/>
              <a:gd name="connsiteY0" fmla="*/ 505587 h 505587"/>
              <a:gd name="connsiteX1" fmla="*/ 219075 w 2628900"/>
              <a:gd name="connsiteY1" fmla="*/ 391287 h 505587"/>
              <a:gd name="connsiteX2" fmla="*/ 762000 w 2628900"/>
              <a:gd name="connsiteY2" fmla="*/ 162687 h 505587"/>
              <a:gd name="connsiteX3" fmla="*/ 1047750 w 2628900"/>
              <a:gd name="connsiteY3" fmla="*/ 86487 h 505587"/>
              <a:gd name="connsiteX4" fmla="*/ 1638300 w 2628900"/>
              <a:gd name="connsiteY4" fmla="*/ 10287 h 505587"/>
              <a:gd name="connsiteX5" fmla="*/ 1952625 w 2628900"/>
              <a:gd name="connsiteY5" fmla="*/ 762 h 505587"/>
              <a:gd name="connsiteX6" fmla="*/ 2257425 w 2628900"/>
              <a:gd name="connsiteY6" fmla="*/ 10287 h 505587"/>
              <a:gd name="connsiteX7" fmla="*/ 2628900 w 2628900"/>
              <a:gd name="connsiteY7" fmla="*/ 67437 h 505587"/>
              <a:gd name="connsiteX0" fmla="*/ 0 w 2628900"/>
              <a:gd name="connsiteY0" fmla="*/ 503677 h 503677"/>
              <a:gd name="connsiteX1" fmla="*/ 219075 w 2628900"/>
              <a:gd name="connsiteY1" fmla="*/ 389377 h 503677"/>
              <a:gd name="connsiteX2" fmla="*/ 762000 w 2628900"/>
              <a:gd name="connsiteY2" fmla="*/ 160777 h 503677"/>
              <a:gd name="connsiteX3" fmla="*/ 1047750 w 2628900"/>
              <a:gd name="connsiteY3" fmla="*/ 84577 h 503677"/>
              <a:gd name="connsiteX4" fmla="*/ 1638300 w 2628900"/>
              <a:gd name="connsiteY4" fmla="*/ 8377 h 503677"/>
              <a:gd name="connsiteX5" fmla="*/ 2257425 w 2628900"/>
              <a:gd name="connsiteY5" fmla="*/ 8377 h 503677"/>
              <a:gd name="connsiteX6" fmla="*/ 2628900 w 2628900"/>
              <a:gd name="connsiteY6" fmla="*/ 65527 h 503677"/>
              <a:gd name="connsiteX0" fmla="*/ 0 w 2628900"/>
              <a:gd name="connsiteY0" fmla="*/ 503677 h 503677"/>
              <a:gd name="connsiteX1" fmla="*/ 219075 w 2628900"/>
              <a:gd name="connsiteY1" fmla="*/ 389377 h 503677"/>
              <a:gd name="connsiteX2" fmla="*/ 561975 w 2628900"/>
              <a:gd name="connsiteY2" fmla="*/ 227452 h 503677"/>
              <a:gd name="connsiteX3" fmla="*/ 1047750 w 2628900"/>
              <a:gd name="connsiteY3" fmla="*/ 84577 h 503677"/>
              <a:gd name="connsiteX4" fmla="*/ 1638300 w 2628900"/>
              <a:gd name="connsiteY4" fmla="*/ 8377 h 503677"/>
              <a:gd name="connsiteX5" fmla="*/ 2257425 w 2628900"/>
              <a:gd name="connsiteY5" fmla="*/ 8377 h 503677"/>
              <a:gd name="connsiteX6" fmla="*/ 2628900 w 2628900"/>
              <a:gd name="connsiteY6" fmla="*/ 65527 h 503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28900" h="503677">
                <a:moveTo>
                  <a:pt x="0" y="503677"/>
                </a:moveTo>
                <a:cubicBezTo>
                  <a:pt x="62706" y="484627"/>
                  <a:pt x="125413" y="435415"/>
                  <a:pt x="219075" y="389377"/>
                </a:cubicBezTo>
                <a:cubicBezTo>
                  <a:pt x="312738" y="343340"/>
                  <a:pt x="423863" y="278252"/>
                  <a:pt x="561975" y="227452"/>
                </a:cubicBezTo>
                <a:cubicBezTo>
                  <a:pt x="700087" y="176652"/>
                  <a:pt x="868363" y="121089"/>
                  <a:pt x="1047750" y="84577"/>
                </a:cubicBezTo>
                <a:cubicBezTo>
                  <a:pt x="1227137" y="48065"/>
                  <a:pt x="1436688" y="21077"/>
                  <a:pt x="1638300" y="8377"/>
                </a:cubicBezTo>
                <a:cubicBezTo>
                  <a:pt x="1839912" y="-4323"/>
                  <a:pt x="2092325" y="-1148"/>
                  <a:pt x="2257425" y="8377"/>
                </a:cubicBezTo>
                <a:cubicBezTo>
                  <a:pt x="2370137" y="19489"/>
                  <a:pt x="2622550" y="100452"/>
                  <a:pt x="2628900" y="65527"/>
                </a:cubicBezTo>
              </a:path>
            </a:pathLst>
          </a:custGeom>
          <a:noFill/>
          <a:ln w="76200" cap="flat" cmpd="sng">
            <a:solidFill>
              <a:schemeClr val="accent6"/>
            </a:solidFill>
            <a:prstDash val="solid"/>
            <a:round/>
            <a:headEnd/>
            <a:tailEnd/>
          </a:ln>
        </p:spPr>
        <p:txBody>
          <a:bodyPr wrap="none" lIns="45720" rIns="45720" anchor="ctr"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ectangle 114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42363" y="4297956"/>
            <a:ext cx="2524712" cy="18810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228600" indent="-228600">
              <a:spcBef>
                <a:spcPct val="25000"/>
              </a:spcBef>
              <a:buFont typeface="+mj-lt"/>
              <a:buAutoNum type="arabicPeriod"/>
            </a:pPr>
            <a:endParaRPr lang="en-GB" sz="1300" b="1" dirty="0" smtClean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24" name="Rectangle 114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52463" y="4278207"/>
            <a:ext cx="2647950" cy="15751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>
              <a:solidFill>
                <a:schemeClr val="tx2"/>
              </a:solidFill>
              <a:latin typeface="Calibri" pitchFamily="34" charset="0"/>
            </a:endParaRPr>
          </a:p>
          <a:p>
            <a:pPr marL="144000" indent="-14400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tx2"/>
                </a:solidFill>
                <a:latin typeface="Calibri" pitchFamily="34" charset="0"/>
              </a:rPr>
              <a:t>Building the partnership network</a:t>
            </a:r>
          </a:p>
        </p:txBody>
      </p:sp>
      <p:sp>
        <p:nvSpPr>
          <p:cNvPr id="25" name="Rectangle 114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3309938" y="4077072"/>
            <a:ext cx="2647950" cy="19140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>
              <a:solidFill>
                <a:schemeClr val="tx2"/>
              </a:solidFill>
              <a:latin typeface="Calibri" pitchFamily="34" charset="0"/>
            </a:endParaRPr>
          </a:p>
          <a:p>
            <a:pPr marL="144000" indent="-14400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tx2"/>
                </a:solidFill>
                <a:latin typeface="Calibri" pitchFamily="34" charset="0"/>
              </a:rPr>
              <a:t>Joining forces to develop and implement an action plan</a:t>
            </a:r>
          </a:p>
        </p:txBody>
      </p:sp>
      <p:sp>
        <p:nvSpPr>
          <p:cNvPr id="26" name="Rectangle 114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957888" y="3623984"/>
            <a:ext cx="2647950" cy="19226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285750" indent="-28575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300" b="1" dirty="0">
              <a:solidFill>
                <a:schemeClr val="tx2"/>
              </a:solidFill>
              <a:latin typeface="Calibri" pitchFamily="34" charset="0"/>
            </a:endParaRPr>
          </a:p>
          <a:p>
            <a:pPr marL="144000" indent="-14400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tx2"/>
                </a:solidFill>
                <a:latin typeface="Calibri" pitchFamily="34" charset="0"/>
              </a:rPr>
              <a:t>Setting the global vision for child online protection</a:t>
            </a:r>
          </a:p>
          <a:p>
            <a:pPr marL="144000" indent="-144000">
              <a:spcBef>
                <a:spcPct val="25000"/>
              </a:spcBef>
              <a:buFont typeface="Arial" panose="020B0604020202020204" pitchFamily="34" charset="0"/>
              <a:buChar char="•"/>
            </a:pPr>
            <a:r>
              <a:rPr lang="en-GB" sz="1600" b="1" dirty="0" smtClean="0">
                <a:solidFill>
                  <a:schemeClr val="tx2"/>
                </a:solidFill>
                <a:latin typeface="Calibri" pitchFamily="34" charset="0"/>
              </a:rPr>
              <a:t>Enhancing synergies to achieve our goals</a:t>
            </a:r>
          </a:p>
          <a:p>
            <a:pPr marL="144000" indent="-14400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600" b="1" dirty="0" smtClean="0">
              <a:solidFill>
                <a:schemeClr val="tx2"/>
              </a:solidFill>
              <a:latin typeface="Calibri" pitchFamily="34" charset="0"/>
            </a:endParaRPr>
          </a:p>
          <a:p>
            <a:pPr marL="144000" indent="-144000">
              <a:spcBef>
                <a:spcPct val="25000"/>
              </a:spcBef>
              <a:buFont typeface="Arial" panose="020B0604020202020204" pitchFamily="34" charset="0"/>
              <a:buChar char="•"/>
            </a:pPr>
            <a:endParaRPr lang="en-GB" sz="1600" b="1" dirty="0" smtClean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27" name="Text Box 109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263146" y="6233966"/>
            <a:ext cx="554464" cy="36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2776" tIns="42776" rIns="42776" bIns="42776">
            <a:spAutoFit/>
          </a:bodyPr>
          <a:lstStyle/>
          <a:p>
            <a:pPr defTabSz="855663" eaLnBrk="0" hangingPunct="0"/>
            <a:r>
              <a:rPr lang="en-US" b="1" dirty="0" smtClean="0">
                <a:solidFill>
                  <a:schemeClr val="tx2"/>
                </a:solidFill>
                <a:latin typeface="Calibri" pitchFamily="34" charset="0"/>
              </a:rPr>
              <a:t>2010</a:t>
            </a:r>
            <a:endParaRPr lang="en-US" b="1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28" name="Text Box 109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02503" y="6233966"/>
            <a:ext cx="554464" cy="363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42776" tIns="42776" rIns="42776" bIns="42776">
            <a:spAutoFit/>
          </a:bodyPr>
          <a:lstStyle/>
          <a:p>
            <a:pPr defTabSz="855663" eaLnBrk="0" hangingPunct="0"/>
            <a:r>
              <a:rPr lang="en-US" b="1" dirty="0" smtClean="0">
                <a:solidFill>
                  <a:schemeClr val="tx2"/>
                </a:solidFill>
                <a:latin typeface="Calibri" pitchFamily="34" charset="0"/>
              </a:rPr>
              <a:t>2008</a:t>
            </a:r>
            <a:endParaRPr lang="en-US" b="1" dirty="0">
              <a:solidFill>
                <a:schemeClr val="tx2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9242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7703768" cy="44958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ITU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Member States committed to ensure the important role of ICTs as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a key enabler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to achieve th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Post-2015 Development 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Agenda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Acknowledged ICTs a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an important tool to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achieve overall 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SDGs</a:t>
            </a:r>
          </a:p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Connect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2020 sets out the shared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vision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goal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and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targets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that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ITU Member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States have committed to achieve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by 2020 </a:t>
            </a:r>
            <a:r>
              <a:rPr lang="en-US" dirty="0">
                <a:solidFill>
                  <a:schemeClr val="accent1">
                    <a:lumMod val="50000"/>
                  </a:schemeClr>
                </a:solidFill>
              </a:rPr>
              <a:t>in collaboration with all stakeholders across the ICT </a:t>
            </a:r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ecosystem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33400" y="476672"/>
            <a:ext cx="8116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Measuring </a:t>
            </a:r>
            <a:r>
              <a:rPr lang="en-US" sz="3200" b="1" kern="0" dirty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global progress</a:t>
            </a:r>
          </a:p>
        </p:txBody>
      </p:sp>
    </p:spTree>
    <p:extLst>
      <p:ext uri="{BB962C8B-B14F-4D97-AF65-F5344CB8AC3E}">
        <p14:creationId xmlns:p14="http://schemas.microsoft.com/office/powerpoint/2010/main" val="204466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onnect 2020 Vision</a:t>
            </a:r>
            <a:endParaRPr lang="en-US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"/>
          </p:nvPr>
        </p:nvSpPr>
        <p:spPr>
          <a:xfrm>
            <a:off x="612648" y="1957536"/>
            <a:ext cx="6191600" cy="3559696"/>
          </a:xfrm>
        </p:spPr>
        <p:txBody>
          <a:bodyPr/>
          <a:lstStyle/>
          <a:p>
            <a:r>
              <a:rPr lang="en-US" dirty="0" smtClean="0">
                <a:solidFill>
                  <a:schemeClr val="accent1">
                    <a:lumMod val="50000"/>
                  </a:schemeClr>
                </a:solidFill>
              </a:rPr>
              <a:t>ITU Member States committed to work towards the shared vision of:</a:t>
            </a:r>
            <a:endParaRPr lang="en-US" dirty="0">
              <a:solidFill>
                <a:schemeClr val="accent1">
                  <a:lumMod val="50000"/>
                </a:schemeClr>
              </a:solidFill>
            </a:endParaRPr>
          </a:p>
          <a:p>
            <a:pPr lvl="1"/>
            <a:r>
              <a:rPr lang="en-US" i="1" dirty="0">
                <a:solidFill>
                  <a:schemeClr val="accent1">
                    <a:lumMod val="50000"/>
                  </a:schemeClr>
                </a:solidFill>
              </a:rPr>
              <a:t>“An information society, empowered by the interconnected world, where telecommunication/ICTs enable and accelerate social, economic and environmentally sustainable growth and development for everyone”</a:t>
            </a:r>
          </a:p>
          <a:p>
            <a:endParaRPr lang="en-US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948264" y="1723713"/>
            <a:ext cx="1764943" cy="4248773"/>
            <a:chOff x="2092682" y="1282907"/>
            <a:chExt cx="1764943" cy="4248773"/>
          </a:xfrm>
        </p:grpSpPr>
        <p:pic>
          <p:nvPicPr>
            <p:cNvPr id="6" name="Picture 8" descr="rt5-2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2682" y="4517267"/>
              <a:ext cx="1762125" cy="1014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rt5-2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5500" y="1282907"/>
              <a:ext cx="1762125" cy="1014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 descr="rt5-2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2683" y="3439147"/>
              <a:ext cx="1762125" cy="1014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rt5-2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2683" y="2361027"/>
              <a:ext cx="1762125" cy="10144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89982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4732" y="182757"/>
            <a:ext cx="7901684" cy="573886"/>
          </a:xfrm>
        </p:spPr>
        <p:txBody>
          <a:bodyPr>
            <a:normAutofit fontScale="90000"/>
          </a:bodyPr>
          <a:lstStyle/>
          <a:p>
            <a:r>
              <a:rPr lang="en-US" sz="3600" b="1" dirty="0" smtClean="0"/>
              <a:t>Connect 2020, Goal 3: Sustainability and COP</a:t>
            </a:r>
            <a:endParaRPr lang="en-US" sz="3600" b="1" dirty="0"/>
          </a:p>
        </p:txBody>
      </p:sp>
      <p:sp>
        <p:nvSpPr>
          <p:cNvPr id="129" name="Rounded Rectangle 128"/>
          <p:cNvSpPr/>
          <p:nvPr/>
        </p:nvSpPr>
        <p:spPr>
          <a:xfrm>
            <a:off x="533400" y="4837858"/>
            <a:ext cx="8071048" cy="1759493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 smtClean="0"/>
              <a:t>Growth </a:t>
            </a:r>
            <a:r>
              <a:rPr lang="en-US" dirty="0"/>
              <a:t>in the global use of ICT-enabled applications, apart from the great benefits, has also resulted in a number of </a:t>
            </a:r>
            <a:r>
              <a:rPr lang="en-US" dirty="0" smtClean="0"/>
              <a:t>challenges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dirty="0" smtClean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dirty="0" smtClean="0"/>
              <a:t>One of the issues is </a:t>
            </a:r>
            <a:r>
              <a:rPr lang="en-US" dirty="0"/>
              <a:t>building confidence and security in the use of ICTs (which includes protection of children online)</a:t>
            </a:r>
          </a:p>
        </p:txBody>
      </p:sp>
      <p:sp>
        <p:nvSpPr>
          <p:cNvPr id="26" name="Right Arrow 25"/>
          <p:cNvSpPr/>
          <p:nvPr/>
        </p:nvSpPr>
        <p:spPr>
          <a:xfrm rot="5400000">
            <a:off x="4201598" y="4305223"/>
            <a:ext cx="50535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/>
          <p:cNvSpPr/>
          <p:nvPr/>
        </p:nvSpPr>
        <p:spPr>
          <a:xfrm>
            <a:off x="647563" y="2263649"/>
            <a:ext cx="7848873" cy="714834"/>
          </a:xfrm>
          <a:prstGeom prst="rect">
            <a:avLst/>
          </a:prstGeom>
          <a:noFill/>
          <a:ln w="3175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Strategic Goals</a:t>
            </a:r>
          </a:p>
          <a:p>
            <a:r>
              <a:rPr lang="en-US" b="1" dirty="0" smtClean="0">
                <a:solidFill>
                  <a:schemeClr val="tx2"/>
                </a:solidFill>
              </a:rPr>
              <a:t>and Target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38" name="Isosceles Triangle 37"/>
          <p:cNvSpPr/>
          <p:nvPr/>
        </p:nvSpPr>
        <p:spPr>
          <a:xfrm>
            <a:off x="647564" y="1124744"/>
            <a:ext cx="7848872" cy="792088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 smtClean="0"/>
              <a:t>Connect 2020</a:t>
            </a:r>
          </a:p>
          <a:p>
            <a:pPr algn="ctr"/>
            <a:r>
              <a:rPr lang="en-US" b="1" dirty="0" smtClean="0"/>
              <a:t>ITU </a:t>
            </a:r>
            <a:r>
              <a:rPr lang="en-US" b="1" dirty="0"/>
              <a:t>v</a:t>
            </a:r>
            <a:r>
              <a:rPr lang="en-US" b="1" dirty="0" smtClean="0"/>
              <a:t>ision &amp; mission</a:t>
            </a:r>
          </a:p>
          <a:p>
            <a:pPr algn="ctr"/>
            <a:endParaRPr lang="en-US" b="1" dirty="0"/>
          </a:p>
        </p:txBody>
      </p:sp>
      <p:pic>
        <p:nvPicPr>
          <p:cNvPr id="39" name="Picture 38" descr="rt5-2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389" y="2275566"/>
            <a:ext cx="1250094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0" name="Picture 39" descr="rt5-2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5926" y="2275566"/>
            <a:ext cx="1252107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Picture 40" descr="rt5-2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7883" y="2275470"/>
            <a:ext cx="1252107" cy="72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Picture 41" descr="rt5-2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9840" y="2275470"/>
            <a:ext cx="1252107" cy="720000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TextBox 42"/>
          <p:cNvSpPr txBox="1"/>
          <p:nvPr/>
        </p:nvSpPr>
        <p:spPr>
          <a:xfrm>
            <a:off x="780375" y="3800596"/>
            <a:ext cx="7694736" cy="307777"/>
          </a:xfrm>
          <a:prstGeom prst="rect">
            <a:avLst/>
          </a:prstGeom>
          <a:solidFill>
            <a:srgbClr val="4C7BB1"/>
          </a:solidFill>
        </p:spPr>
        <p:txBody>
          <a:bodyPr wrap="square" rIns="0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Goal </a:t>
            </a:r>
            <a:r>
              <a:rPr lang="en-US" sz="1400" b="1" dirty="0">
                <a:solidFill>
                  <a:schemeClr val="bg1"/>
                </a:solidFill>
              </a:rPr>
              <a:t>3</a:t>
            </a:r>
            <a:r>
              <a:rPr lang="en-US" sz="1400" b="1" dirty="0" smtClean="0">
                <a:solidFill>
                  <a:schemeClr val="bg1"/>
                </a:solidFill>
              </a:rPr>
              <a:t> Sustainability </a:t>
            </a:r>
            <a:r>
              <a:rPr lang="en-US" sz="1400" b="1" dirty="0">
                <a:solidFill>
                  <a:schemeClr val="bg1"/>
                </a:solidFill>
              </a:rPr>
              <a:t>– Manage challenges resulting from the telecommunication/ICT development</a:t>
            </a:r>
          </a:p>
        </p:txBody>
      </p:sp>
      <p:sp>
        <p:nvSpPr>
          <p:cNvPr id="44" name="Right Arrow 43"/>
          <p:cNvSpPr/>
          <p:nvPr/>
        </p:nvSpPr>
        <p:spPr>
          <a:xfrm rot="5400000">
            <a:off x="5531258" y="3165406"/>
            <a:ext cx="505356" cy="48463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87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33400" y="3372425"/>
            <a:ext cx="1795087" cy="1653762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b="1" dirty="0" smtClean="0">
                <a:solidFill>
                  <a:schemeClr val="accent1"/>
                </a:solidFill>
              </a:rPr>
              <a:t>ITU Strategic Plan 2016-2019</a:t>
            </a:r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b="1" dirty="0" smtClean="0"/>
              <a:t>COP partnership framework</a:t>
            </a:r>
            <a:endParaRPr lang="en-US" sz="3200" b="1" dirty="0"/>
          </a:p>
        </p:txBody>
      </p:sp>
      <p:sp>
        <p:nvSpPr>
          <p:cNvPr id="8" name="Rectangle 7"/>
          <p:cNvSpPr/>
          <p:nvPr/>
        </p:nvSpPr>
        <p:spPr>
          <a:xfrm>
            <a:off x="683567" y="2702370"/>
            <a:ext cx="7848873" cy="582614"/>
          </a:xfrm>
          <a:prstGeom prst="rect">
            <a:avLst/>
          </a:prstGeom>
          <a:noFill/>
          <a:ln w="3175"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 b="1" dirty="0" smtClean="0">
                <a:solidFill>
                  <a:schemeClr val="tx2"/>
                </a:solidFill>
              </a:rPr>
              <a:t>Proposed COP Goal &amp; Targets</a:t>
            </a:r>
            <a:endParaRPr lang="en-US" sz="2800" b="1" dirty="0">
              <a:solidFill>
                <a:schemeClr val="tx2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83568" y="4374425"/>
            <a:ext cx="1512168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 smtClean="0"/>
              <a:t>ITU COP initiative</a:t>
            </a:r>
            <a:endParaRPr lang="en-US" sz="1500" b="1" dirty="0"/>
          </a:p>
        </p:txBody>
      </p:sp>
      <p:sp>
        <p:nvSpPr>
          <p:cNvPr id="10" name="Rectangle 9"/>
          <p:cNvSpPr/>
          <p:nvPr/>
        </p:nvSpPr>
        <p:spPr>
          <a:xfrm>
            <a:off x="2454770" y="4374425"/>
            <a:ext cx="1512168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 smtClean="0"/>
              <a:t>International Organization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704559" y="4374425"/>
            <a:ext cx="1512168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 smtClean="0"/>
              <a:t>Private sector</a:t>
            </a:r>
            <a:endParaRPr lang="en-US" sz="1500" b="1" dirty="0"/>
          </a:p>
        </p:txBody>
      </p:sp>
      <p:sp>
        <p:nvSpPr>
          <p:cNvPr id="12" name="Rectangle 11"/>
          <p:cNvSpPr/>
          <p:nvPr/>
        </p:nvSpPr>
        <p:spPr>
          <a:xfrm>
            <a:off x="7321038" y="4374425"/>
            <a:ext cx="1512168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 smtClean="0"/>
              <a:t>Other stakeholders</a:t>
            </a:r>
            <a:endParaRPr lang="en-US" sz="1500" b="1" dirty="0"/>
          </a:p>
        </p:txBody>
      </p:sp>
      <p:sp>
        <p:nvSpPr>
          <p:cNvPr id="13" name="Isosceles Triangle 12"/>
          <p:cNvSpPr/>
          <p:nvPr/>
        </p:nvSpPr>
        <p:spPr>
          <a:xfrm>
            <a:off x="683568" y="1955285"/>
            <a:ext cx="7848872" cy="659645"/>
          </a:xfrm>
          <a:prstGeom prst="triangle">
            <a:avLst/>
          </a:prstGeom>
          <a:solidFill>
            <a:schemeClr val="accent1">
              <a:lumMod val="60000"/>
              <a:lumOff val="4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800" b="1" dirty="0">
              <a:ln w="12700">
                <a:noFill/>
                <a:prstDash val="solid"/>
              </a:ln>
              <a:noFill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510614" y="4824367"/>
            <a:ext cx="4241580" cy="3385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tx2"/>
                </a:solidFill>
              </a:rPr>
              <a:t>Collaboration at national and regional level</a:t>
            </a:r>
            <a:endParaRPr lang="en-US" sz="1600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28487" y="3830168"/>
            <a:ext cx="4455138" cy="338554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International coopera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510613" y="5229200"/>
            <a:ext cx="4251681" cy="1522311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b="1" dirty="0"/>
          </a:p>
        </p:txBody>
      </p:sp>
      <p:grpSp>
        <p:nvGrpSpPr>
          <p:cNvPr id="24" name="Group 23"/>
          <p:cNvGrpSpPr/>
          <p:nvPr/>
        </p:nvGrpSpPr>
        <p:grpSpPr>
          <a:xfrm>
            <a:off x="3718818" y="5445225"/>
            <a:ext cx="3949525" cy="692192"/>
            <a:chOff x="-110860" y="4492305"/>
            <a:chExt cx="3738146" cy="774585"/>
          </a:xfrm>
        </p:grpSpPr>
        <p:sp>
          <p:nvSpPr>
            <p:cNvPr id="26" name="TextBox 25"/>
            <p:cNvSpPr txBox="1"/>
            <p:nvPr/>
          </p:nvSpPr>
          <p:spPr>
            <a:xfrm>
              <a:off x="1812996" y="4905258"/>
              <a:ext cx="1800000" cy="36163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rIns="36000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n-US" sz="1500" b="1" dirty="0" smtClean="0"/>
                <a:t>Academia</a:t>
              </a:r>
              <a:endParaRPr lang="en-US" sz="1500" b="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827286" y="4492305"/>
              <a:ext cx="1800000" cy="323165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n-US" sz="1500" b="1" dirty="0" smtClean="0"/>
                <a:t>Private sector</a:t>
              </a:r>
              <a:endParaRPr lang="en-US" sz="1500" b="1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-110860" y="4911866"/>
              <a:ext cx="1800000" cy="32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n-US" sz="1500" b="1" dirty="0" smtClean="0"/>
                <a:t>Civil society</a:t>
              </a:r>
              <a:endParaRPr lang="en-US" sz="1500" b="1" dirty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-110860" y="4492305"/>
              <a:ext cx="1800000" cy="32400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6350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>
              <a:defPPr>
                <a:defRPr lang="en-US"/>
              </a:defPPr>
              <a:lvl1pPr algn="ctr"/>
            </a:lstStyle>
            <a:p>
              <a:r>
                <a:rPr lang="en-US" sz="1400" b="1" dirty="0" smtClean="0"/>
                <a:t>Government agencies</a:t>
              </a:r>
              <a:endParaRPr lang="en-US" sz="1400" b="1" dirty="0"/>
            </a:p>
          </p:txBody>
        </p:sp>
      </p:grpSp>
      <p:sp>
        <p:nvSpPr>
          <p:cNvPr id="25" name="Left Brace 24"/>
          <p:cNvSpPr/>
          <p:nvPr/>
        </p:nvSpPr>
        <p:spPr>
          <a:xfrm rot="16200000">
            <a:off x="5423757" y="2957814"/>
            <a:ext cx="270165" cy="4406910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833466" y="2152800"/>
            <a:ext cx="364163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Child Online Protection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071249" y="4376665"/>
            <a:ext cx="1512168" cy="468000"/>
          </a:xfrm>
          <a:prstGeom prst="rect">
            <a:avLst/>
          </a:prstGeom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4290" rIns="3600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b="1" dirty="0" smtClean="0"/>
              <a:t>Governments</a:t>
            </a:r>
            <a:endParaRPr lang="en-US" sz="1500" b="1" dirty="0"/>
          </a:p>
        </p:txBody>
      </p:sp>
      <p:cxnSp>
        <p:nvCxnSpPr>
          <p:cNvPr id="21" name="Straight Arrow Connector 20"/>
          <p:cNvCxnSpPr/>
          <p:nvPr/>
        </p:nvCxnSpPr>
        <p:spPr>
          <a:xfrm>
            <a:off x="1161429" y="4142371"/>
            <a:ext cx="7268196" cy="0"/>
          </a:xfrm>
          <a:prstGeom prst="straightConnector1">
            <a:avLst/>
          </a:prstGeom>
          <a:ln w="76200">
            <a:headEnd type="arrow"/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Up Arrow 30"/>
          <p:cNvSpPr/>
          <p:nvPr/>
        </p:nvSpPr>
        <p:spPr>
          <a:xfrm>
            <a:off x="3023828" y="3356992"/>
            <a:ext cx="3096344" cy="439605"/>
          </a:xfrm>
          <a:prstGeom prst="upArrow">
            <a:avLst>
              <a:gd name="adj1" fmla="val 50000"/>
              <a:gd name="adj2" fmla="val 70247"/>
            </a:avLst>
          </a:prstGeom>
          <a:solidFill>
            <a:schemeClr val="accent1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707325" y="6195089"/>
            <a:ext cx="1901784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 algn="ctr"/>
          </a:lstStyle>
          <a:p>
            <a:r>
              <a:rPr lang="en-US" sz="1400" b="1" dirty="0" smtClean="0"/>
              <a:t>Law Enforcement</a:t>
            </a:r>
            <a:endParaRPr lang="en-US" sz="14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5751461" y="6207695"/>
            <a:ext cx="1901784" cy="461665"/>
          </a:xfrm>
          <a:prstGeom prst="rect">
            <a:avLst/>
          </a:prstGeom>
          <a:solidFill>
            <a:schemeClr val="accent1">
              <a:lumMod val="75000"/>
            </a:schemeClr>
          </a:solidFill>
          <a:ln w="63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rIns="36000" rtlCol="0">
            <a:spAutoFit/>
          </a:bodyPr>
          <a:lstStyle>
            <a:defPPr>
              <a:defRPr lang="en-US"/>
            </a:defPPr>
            <a:lvl1pPr algn="ctr"/>
          </a:lstStyle>
          <a:p>
            <a:r>
              <a:rPr lang="en-US" sz="1200" b="1" dirty="0" smtClean="0"/>
              <a:t>Regional and international Organizations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961594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/>
        </p:nvGrpSpPr>
        <p:grpSpPr>
          <a:xfrm>
            <a:off x="1010240" y="2834747"/>
            <a:ext cx="7079726" cy="3109909"/>
            <a:chOff x="1172456" y="2492896"/>
            <a:chExt cx="7079726" cy="3109909"/>
          </a:xfrm>
        </p:grpSpPr>
        <p:cxnSp>
          <p:nvCxnSpPr>
            <p:cNvPr id="47" name="Straight Connector 46"/>
            <p:cNvCxnSpPr/>
            <p:nvPr/>
          </p:nvCxnSpPr>
          <p:spPr>
            <a:xfrm>
              <a:off x="1186933" y="2780926"/>
              <a:ext cx="0" cy="282187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2969318" y="2780926"/>
              <a:ext cx="0" cy="282187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>
              <a:off x="4761817" y="2492896"/>
              <a:ext cx="0" cy="310990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>
              <a:off x="6522647" y="2780926"/>
              <a:ext cx="0" cy="282187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>
              <a:off x="8244408" y="2780926"/>
              <a:ext cx="0" cy="2821879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>
              <a:off x="1172456" y="2780926"/>
              <a:ext cx="7079726" cy="0"/>
            </a:xfrm>
            <a:prstGeom prst="line">
              <a:avLst/>
            </a:prstGeom>
            <a:ln w="254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posed COP Goal and Targets</a:t>
            </a:r>
            <a:endParaRPr lang="en-US" b="1" dirty="0"/>
          </a:p>
        </p:txBody>
      </p:sp>
      <p:grpSp>
        <p:nvGrpSpPr>
          <p:cNvPr id="8" name="Group 7"/>
          <p:cNvGrpSpPr/>
          <p:nvPr/>
        </p:nvGrpSpPr>
        <p:grpSpPr>
          <a:xfrm>
            <a:off x="1052578" y="2407380"/>
            <a:ext cx="7079726" cy="4261980"/>
            <a:chOff x="1172456" y="2492896"/>
            <a:chExt cx="7079726" cy="3109909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1186933" y="2780926"/>
              <a:ext cx="0" cy="282187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2969318" y="2780926"/>
              <a:ext cx="0" cy="282187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>
              <a:off x="4761817" y="2492896"/>
              <a:ext cx="0" cy="310990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6522647" y="2780926"/>
              <a:ext cx="0" cy="282187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8244408" y="2780926"/>
              <a:ext cx="0" cy="2821879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>
              <a:off x="1172456" y="2780926"/>
              <a:ext cx="7079726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/>
          <p:cNvGrpSpPr/>
          <p:nvPr/>
        </p:nvGrpSpPr>
        <p:grpSpPr>
          <a:xfrm>
            <a:off x="323528" y="5733254"/>
            <a:ext cx="8521082" cy="504058"/>
            <a:chOff x="443406" y="5517230"/>
            <a:chExt cx="8521082" cy="504058"/>
          </a:xfrm>
        </p:grpSpPr>
        <p:sp>
          <p:nvSpPr>
            <p:cNvPr id="16" name="Rectangle 15"/>
            <p:cNvSpPr/>
            <p:nvPr/>
          </p:nvSpPr>
          <p:spPr>
            <a:xfrm>
              <a:off x="443406" y="5517232"/>
              <a:ext cx="1465900" cy="504056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</a:rPr>
                <a:t>Pillar 1: Legal Measures</a:t>
              </a:r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243606" y="5530799"/>
              <a:ext cx="1465900" cy="490489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prstClr val="white"/>
                  </a:solidFill>
                </a:rPr>
                <a:t>Pillar </a:t>
              </a:r>
              <a:r>
                <a:rPr lang="en-US" sz="1100" b="1" dirty="0" smtClean="0">
                  <a:solidFill>
                    <a:prstClr val="white"/>
                  </a:solidFill>
                </a:rPr>
                <a:t>2: Tech. &amp; Procedural Meas.</a:t>
              </a: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5758836" y="5517231"/>
              <a:ext cx="1465900" cy="504057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prstClr val="white"/>
                  </a:solidFill>
                </a:rPr>
                <a:t>Pillar 4</a:t>
              </a:r>
              <a:r>
                <a:rPr lang="en-US" sz="1100" b="1" dirty="0" smtClean="0">
                  <a:solidFill>
                    <a:prstClr val="white"/>
                  </a:solidFill>
                </a:rPr>
                <a:t>: Capacity Building</a:t>
              </a: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005625" y="5530799"/>
              <a:ext cx="1465900" cy="490489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prstClr val="white"/>
                  </a:solidFill>
                </a:rPr>
                <a:t>Pillar 3</a:t>
              </a:r>
              <a:r>
                <a:rPr lang="en-US" sz="1100" b="1" dirty="0" smtClean="0">
                  <a:solidFill>
                    <a:prstClr val="white"/>
                  </a:solidFill>
                </a:rPr>
                <a:t>: Org. Structures</a:t>
              </a:r>
              <a:endParaRPr lang="en-US" sz="1100" b="1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519232" y="5517230"/>
              <a:ext cx="1445256" cy="504058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prstClr val="white"/>
                  </a:solidFill>
                </a:rPr>
                <a:t>Pillar </a:t>
              </a:r>
              <a:r>
                <a:rPr lang="en-US" sz="1100" b="1" dirty="0" smtClean="0">
                  <a:solidFill>
                    <a:prstClr val="white"/>
                  </a:solidFill>
                </a:rPr>
                <a:t>5: </a:t>
              </a:r>
              <a:r>
                <a:rPr lang="en-US" sz="1100" b="1" dirty="0" err="1" smtClean="0">
                  <a:solidFill>
                    <a:prstClr val="white"/>
                  </a:solidFill>
                </a:rPr>
                <a:t>Internat’l</a:t>
              </a:r>
              <a:r>
                <a:rPr lang="en-US" sz="1100" b="1" dirty="0" smtClean="0">
                  <a:solidFill>
                    <a:prstClr val="white"/>
                  </a:solidFill>
                </a:rPr>
                <a:t> Cooperation </a:t>
              </a:r>
              <a:endParaRPr lang="en-US" sz="1100" b="1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323528" y="3290214"/>
            <a:ext cx="8536600" cy="1074888"/>
            <a:chOff x="448532" y="2780928"/>
            <a:chExt cx="8536600" cy="1074888"/>
          </a:xfrm>
        </p:grpSpPr>
        <p:sp>
          <p:nvSpPr>
            <p:cNvPr id="22" name="Rectangle 21"/>
            <p:cNvSpPr/>
            <p:nvPr/>
          </p:nvSpPr>
          <p:spPr>
            <a:xfrm>
              <a:off x="448532" y="2996582"/>
              <a:ext cx="1465900" cy="858192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lvl="0" algn="ctr"/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ldwide,</a:t>
              </a:r>
              <a:r>
                <a:rPr lang="en-US" sz="800" b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90</a:t>
              </a: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 </a:t>
              </a:r>
              <a:b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countries should set in place legislation addressing child sexual abuse material online </a:t>
              </a:r>
              <a:b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2020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248732" y="2996582"/>
              <a:ext cx="1465900" cy="858864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algn="ctr"/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ldwide, </a:t>
              </a:r>
              <a:r>
                <a:rPr lang="en-US" sz="8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r>
                <a:rPr lang="en-US" sz="800" b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</a:t>
              </a: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 </a:t>
              </a:r>
              <a:b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countries should set in place mechanisms to report online child sexual abuse content </a:t>
              </a:r>
              <a:b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y 2020</a:t>
              </a:r>
              <a:endParaRPr 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010750" y="2996952"/>
              <a:ext cx="1465900" cy="858864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algn="ctr"/>
              <a: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ldwide, XX% </a:t>
              </a:r>
              <a:b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countries with law enforcement using advanced digital </a:t>
              </a:r>
              <a:b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ensic tools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763961" y="2995725"/>
              <a:ext cx="1465900" cy="858679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lvl="0" algn="ctr"/>
              <a: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orldwide, XX% </a:t>
              </a:r>
              <a:b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 countries should include safe online practices into schools </a:t>
              </a: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urricula</a:t>
              </a:r>
              <a:endParaRPr lang="en-US" sz="8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519232" y="2996581"/>
              <a:ext cx="1465900" cy="857823"/>
            </a:xfrm>
            <a:prstGeom prst="rect">
              <a:avLst/>
            </a:prstGeom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lvl="0" algn="ctr"/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oved mechanisms </a:t>
              </a:r>
              <a:b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sed for international cooperation</a:t>
              </a:r>
              <a:endParaRPr lang="en-US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48532" y="2780928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T</a:t>
              </a:r>
              <a:r>
                <a:rPr lang="en-US" altLang="zh-CN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arget 1</a:t>
              </a:r>
              <a:endParaRPr lang="en-GB" sz="11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248732" y="2787647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T</a:t>
              </a:r>
              <a:r>
                <a:rPr lang="en-US" altLang="zh-CN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arget 2</a:t>
              </a:r>
              <a:endParaRPr lang="en-GB" sz="11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010751" y="2781299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T</a:t>
              </a:r>
              <a:r>
                <a:rPr lang="en-US" altLang="zh-CN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arget 3</a:t>
              </a:r>
              <a:endParaRPr lang="en-GB" sz="11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5763961" y="2781299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T</a:t>
              </a:r>
              <a:r>
                <a:rPr lang="en-US" altLang="zh-CN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arget 4</a:t>
              </a:r>
              <a:endParaRPr lang="en-GB" sz="11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7519232" y="2787647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T</a:t>
              </a:r>
              <a:r>
                <a:rPr lang="en-US" altLang="zh-CN" sz="11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arget 5</a:t>
              </a:r>
              <a:endParaRPr lang="en-GB" sz="11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315736" y="4483811"/>
            <a:ext cx="8527146" cy="1075006"/>
            <a:chOff x="448532" y="4150933"/>
            <a:chExt cx="8527146" cy="1075006"/>
          </a:xfrm>
        </p:grpSpPr>
        <p:sp>
          <p:nvSpPr>
            <p:cNvPr id="33" name="Rectangle 32"/>
            <p:cNvSpPr/>
            <p:nvPr/>
          </p:nvSpPr>
          <p:spPr>
            <a:xfrm>
              <a:off x="448532" y="4367258"/>
              <a:ext cx="1465900" cy="85819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lvl="0" algn="ctr"/>
              <a:r>
                <a:rPr lang="en-US" sz="8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ster a comprehensive legal framework to efficiently address online crimes related to children</a:t>
              </a:r>
              <a:endPara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2248732" y="4366586"/>
              <a:ext cx="1465900" cy="858864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algn="ctr"/>
              <a:r>
                <a:rPr lang="en-US" sz="8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sz="8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800" b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mote active participation and interagency collaboration to support the monitoring, evaluation and reporting of inappropriate content</a:t>
              </a:r>
            </a:p>
            <a:p>
              <a:pPr algn="ctr"/>
              <a:endPara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005625" y="4367258"/>
              <a:ext cx="1465900" cy="858681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algn="ctr"/>
              <a:endPara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5758835" y="4367260"/>
              <a:ext cx="1465900" cy="85867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algn="ctr"/>
              <a:r>
                <a:rPr lang="en-US" sz="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ster the acquisition and sharing of knowledge for children, individuals and institutions for achieving a safe online environment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7509777" y="4368116"/>
              <a:ext cx="1465901" cy="85782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12700"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001">
              <a:schemeClr val="dk2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tIns="36000" rtlCol="0" anchor="ctr" anchorCtr="0"/>
            <a:lstStyle/>
            <a:p>
              <a:pPr algn="ctr"/>
              <a:r>
                <a:rPr lang="en-US" sz="8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e harmonized international practices in online protection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448532" y="4152463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bjective</a:t>
              </a:r>
              <a:r>
                <a:rPr lang="en-US" sz="1100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 </a:t>
              </a:r>
              <a:r>
                <a:rPr lang="en-US" altLang="zh-CN" sz="1100" b="1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1</a:t>
              </a:r>
              <a:endParaRPr lang="en-GB" sz="1100" b="1" dirty="0">
                <a:solidFill>
                  <a:schemeClr val="tx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248732" y="4160474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bjective</a:t>
              </a:r>
              <a:r>
                <a:rPr lang="en-US" sz="1100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 </a:t>
              </a:r>
              <a:r>
                <a:rPr lang="en-US" altLang="zh-CN" sz="1100" b="1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2</a:t>
              </a:r>
              <a:endParaRPr lang="en-GB" sz="1100" b="1" dirty="0">
                <a:solidFill>
                  <a:schemeClr val="tx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005625" y="4150933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bjective</a:t>
              </a:r>
              <a:r>
                <a:rPr lang="en-US" sz="1200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 </a:t>
              </a:r>
              <a:r>
                <a:rPr lang="en-US" altLang="zh-CN" sz="1200" b="1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3</a:t>
              </a:r>
              <a:endParaRPr lang="en-GB" sz="1200" b="1" dirty="0">
                <a:solidFill>
                  <a:schemeClr val="tx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5758835" y="4160474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bjective</a:t>
              </a:r>
              <a:r>
                <a:rPr lang="en-US" sz="1100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 </a:t>
              </a:r>
              <a:r>
                <a:rPr lang="en-US" altLang="zh-CN" sz="1100" b="1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4</a:t>
              </a:r>
              <a:endParaRPr lang="en-GB" sz="1100" b="1" dirty="0">
                <a:solidFill>
                  <a:schemeClr val="tx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7509777" y="4160474"/>
              <a:ext cx="1465900" cy="215653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 smtClean="0">
                  <a:solidFill>
                    <a:schemeClr val="tx1"/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bjective</a:t>
              </a:r>
              <a:r>
                <a:rPr lang="en-US" sz="1050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 </a:t>
              </a:r>
              <a:r>
                <a:rPr lang="en-US" altLang="zh-CN" sz="1050" b="1" dirty="0" smtClean="0">
                  <a:solidFill>
                    <a:schemeClr val="tx1"/>
                  </a:solidFill>
                  <a:latin typeface="Arial Black" panose="020B0A04020102020204" pitchFamily="34" charset="0"/>
                </a:rPr>
                <a:t>5</a:t>
              </a:r>
              <a:endParaRPr lang="en-GB" sz="1050" b="1" dirty="0">
                <a:solidFill>
                  <a:schemeClr val="tx1"/>
                </a:solidFill>
                <a:latin typeface="Arial Black" panose="020B0A04020102020204" pitchFamily="34" charset="0"/>
              </a:endParaRPr>
            </a:p>
          </p:txBody>
        </p:sp>
      </p:grpSp>
      <p:sp>
        <p:nvSpPr>
          <p:cNvPr id="43" name="Rounded Rectangle 42"/>
          <p:cNvSpPr/>
          <p:nvPr/>
        </p:nvSpPr>
        <p:spPr>
          <a:xfrm>
            <a:off x="2859572" y="1905048"/>
            <a:ext cx="3890554" cy="723506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000" tIns="180000" rIns="468000" rtlCol="0" anchor="ctr"/>
          <a:lstStyle/>
          <a:p>
            <a:pPr marL="36000" lvl="0" algn="ctr">
              <a:spcBef>
                <a:spcPts val="2400"/>
              </a:spcBef>
            </a:pPr>
            <a:r>
              <a:rPr lang="en-US" sz="1600" b="1" dirty="0" smtClean="0"/>
              <a:t>Protect Children Online</a:t>
            </a:r>
          </a:p>
          <a:p>
            <a:pPr lvl="0" algn="ctr">
              <a:spcBef>
                <a:spcPts val="300"/>
              </a:spcBef>
            </a:pPr>
            <a:r>
              <a:rPr lang="en-US" sz="1100" b="1" dirty="0" smtClean="0">
                <a:solidFill>
                  <a:srgbClr val="FF0000"/>
                </a:solidFill>
              </a:rPr>
              <a:t>80</a:t>
            </a:r>
            <a:r>
              <a:rPr lang="en-US" sz="1100" b="1" dirty="0" smtClean="0"/>
              <a:t>% of children should benefit from a </a:t>
            </a:r>
            <a:br>
              <a:rPr lang="en-US" sz="1100" b="1" dirty="0" smtClean="0"/>
            </a:br>
            <a:r>
              <a:rPr lang="en-US" sz="1100" b="1" dirty="0" smtClean="0"/>
              <a:t>basic level of protection online by 2020*</a:t>
            </a:r>
          </a:p>
          <a:p>
            <a:pPr algn="ctr"/>
            <a:endParaRPr lang="en-GB" sz="1100" dirty="0"/>
          </a:p>
        </p:txBody>
      </p:sp>
      <p:sp>
        <p:nvSpPr>
          <p:cNvPr id="44" name="Round Same Side Corner Rectangle 43"/>
          <p:cNvSpPr/>
          <p:nvPr/>
        </p:nvSpPr>
        <p:spPr>
          <a:xfrm rot="5400000">
            <a:off x="6099626" y="1986412"/>
            <a:ext cx="719237" cy="581762"/>
          </a:xfrm>
          <a:prstGeom prst="round2Same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050" dirty="0" smtClean="0"/>
          </a:p>
          <a:p>
            <a:pPr lvl="0" algn="ctr"/>
            <a:r>
              <a:rPr lang="en-US" sz="1100" b="1" dirty="0" smtClean="0"/>
              <a:t>GOAL &amp; COP TARGET</a:t>
            </a:r>
          </a:p>
          <a:p>
            <a:pPr algn="ctr"/>
            <a:endParaRPr lang="en-GB" sz="1050" dirty="0"/>
          </a:p>
        </p:txBody>
      </p:sp>
      <p:grpSp>
        <p:nvGrpSpPr>
          <p:cNvPr id="53" name="Group 52"/>
          <p:cNvGrpSpPr/>
          <p:nvPr/>
        </p:nvGrpSpPr>
        <p:grpSpPr>
          <a:xfrm>
            <a:off x="315736" y="5724896"/>
            <a:ext cx="8521082" cy="512415"/>
            <a:chOff x="443406" y="5517230"/>
            <a:chExt cx="8521082" cy="504058"/>
          </a:xfrm>
        </p:grpSpPr>
        <p:sp>
          <p:nvSpPr>
            <p:cNvPr id="54" name="Rectangle 53"/>
            <p:cNvSpPr/>
            <p:nvPr/>
          </p:nvSpPr>
          <p:spPr>
            <a:xfrm>
              <a:off x="443406" y="5517232"/>
              <a:ext cx="1465900" cy="504056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100" b="1" dirty="0" smtClean="0">
                  <a:solidFill>
                    <a:schemeClr val="bg1"/>
                  </a:solidFill>
                </a:rPr>
                <a:t>Pillar 1: Legal Measure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2243606" y="5530799"/>
              <a:ext cx="1465900" cy="490489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schemeClr val="bg1"/>
                  </a:solidFill>
                </a:rPr>
                <a:t>Pillar </a:t>
              </a:r>
              <a:r>
                <a:rPr lang="en-US" sz="1100" b="1" dirty="0" smtClean="0">
                  <a:solidFill>
                    <a:schemeClr val="bg1"/>
                  </a:solidFill>
                </a:rPr>
                <a:t>2: Tech. &amp; Procedural Meas.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5758836" y="5517231"/>
              <a:ext cx="1465900" cy="504057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schemeClr val="bg1"/>
                  </a:solidFill>
                </a:rPr>
                <a:t>Pillar 4</a:t>
              </a:r>
              <a:r>
                <a:rPr lang="en-US" sz="1100" b="1" dirty="0" smtClean="0">
                  <a:solidFill>
                    <a:schemeClr val="bg1"/>
                  </a:solidFill>
                </a:rPr>
                <a:t>: Capacity Building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4005625" y="5530799"/>
              <a:ext cx="1465900" cy="490489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schemeClr val="bg1"/>
                  </a:solidFill>
                </a:rPr>
                <a:t>Pillar 3</a:t>
              </a:r>
              <a:r>
                <a:rPr lang="en-US" sz="1100" b="1" dirty="0" smtClean="0">
                  <a:solidFill>
                    <a:schemeClr val="bg1"/>
                  </a:solidFill>
                </a:rPr>
                <a:t>: Org. Structures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7519232" y="5517230"/>
              <a:ext cx="1445256" cy="504058"/>
            </a:xfrm>
            <a:prstGeom prst="rect">
              <a:avLst/>
            </a:prstGeom>
            <a:solidFill>
              <a:schemeClr val="accent3">
                <a:lumMod val="50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/>
              <a:r>
                <a:rPr lang="en-US" sz="1100" b="1" dirty="0">
                  <a:solidFill>
                    <a:schemeClr val="bg1"/>
                  </a:solidFill>
                </a:rPr>
                <a:t>Pillar </a:t>
              </a:r>
              <a:r>
                <a:rPr lang="en-US" sz="1100" b="1" dirty="0" smtClean="0">
                  <a:solidFill>
                    <a:schemeClr val="bg1"/>
                  </a:solidFill>
                </a:rPr>
                <a:t>5: International Cooperation </a:t>
              </a:r>
              <a:endParaRPr lang="en-US" sz="11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70" name="Rectangle 69"/>
          <p:cNvSpPr/>
          <p:nvPr/>
        </p:nvSpPr>
        <p:spPr>
          <a:xfrm>
            <a:off x="107504" y="2802110"/>
            <a:ext cx="3646668" cy="3795242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b="1" dirty="0">
              <a:solidFill>
                <a:schemeClr val="accent1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063134" y="4796617"/>
            <a:ext cx="108012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Reduce harmful </a:t>
            </a:r>
            <a:b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800" b="1" dirty="0">
                <a:latin typeface="Arial" panose="020B0604020202020204" pitchFamily="34" charset="0"/>
                <a:cs typeface="Arial" panose="020B0604020202020204" pitchFamily="34" charset="0"/>
              </a:rPr>
              <a:t>online content in an efficient </a:t>
            </a:r>
            <a:r>
              <a:rPr lang="en-US" sz="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nner</a:t>
            </a: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2889" y="2428143"/>
            <a:ext cx="26100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0000"/>
                </a:solidFill>
              </a:rPr>
              <a:t>Focus from 2015-2020</a:t>
            </a:r>
            <a:endParaRPr lang="en-US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850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4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" grpId="0" animBg="1"/>
      <p:bldP spid="44" grpId="0" animBg="1"/>
      <p:bldP spid="70" grpId="0" animBg="1"/>
      <p:bldP spid="73" grpId="0"/>
      <p:bldP spid="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11560" y="404664"/>
            <a:ext cx="7703768" cy="990600"/>
          </a:xfrm>
        </p:spPr>
        <p:txBody>
          <a:bodyPr/>
          <a:lstStyle/>
          <a:p>
            <a:r>
              <a:rPr lang="en-US" b="1" dirty="0" smtClean="0"/>
              <a:t>Elaboration</a:t>
            </a:r>
            <a:endParaRPr lang="en-US" b="1" dirty="0"/>
          </a:p>
        </p:txBody>
      </p:sp>
      <p:sp>
        <p:nvSpPr>
          <p:cNvPr id="53" name="Content Placeholder 5"/>
          <p:cNvSpPr txBox="1">
            <a:spLocks/>
          </p:cNvSpPr>
          <p:nvPr/>
        </p:nvSpPr>
        <p:spPr>
          <a:xfrm>
            <a:off x="4792276" y="3614138"/>
            <a:ext cx="3884179" cy="279346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tIns="72000">
            <a:noAutofit/>
          </a:bodyPr>
          <a:lstStyle>
            <a:lvl1pPr marL="320040" indent="-320040" algn="l" rtl="0" eaLnBrk="1" latinLnBrk="0" hangingPunct="1">
              <a:spcBef>
                <a:spcPts val="700"/>
              </a:spcBef>
              <a:buClr>
                <a:schemeClr val="accent2"/>
              </a:buClr>
              <a:buSzPct val="60000"/>
              <a:buFont typeface="Wingdings"/>
              <a:buChar char=""/>
              <a:defRPr kumimoji="0"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0080" indent="-274320" algn="l" rtl="0" eaLnBrk="1" latinLnBrk="0" hangingPunct="1">
              <a:spcBef>
                <a:spcPts val="550"/>
              </a:spcBef>
              <a:buClr>
                <a:schemeClr val="accent1"/>
              </a:buClr>
              <a:buSzPct val="70000"/>
              <a:buFont typeface="Wingdings 2"/>
              <a:buChar char="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1" latinLnBrk="0" hangingPunct="1">
              <a:spcBef>
                <a:spcPts val="500"/>
              </a:spcBef>
              <a:buClr>
                <a:schemeClr val="accent2"/>
              </a:buClr>
              <a:buSzPct val="75000"/>
              <a:buFont typeface="Wingdings"/>
              <a:buChar char=""/>
              <a:defRPr kumimoji="0"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rtl="0" eaLnBrk="1" latinLnBrk="0" hangingPunct="1">
              <a:spcBef>
                <a:spcPts val="400"/>
              </a:spcBef>
              <a:buClr>
                <a:schemeClr val="accent3"/>
              </a:buClr>
              <a:buSzPct val="7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rtl="0" eaLnBrk="1" latinLnBrk="0" hangingPunct="1">
              <a:spcBef>
                <a:spcPts val="400"/>
              </a:spcBef>
              <a:buClr>
                <a:schemeClr val="accent4"/>
              </a:buClr>
              <a:buSzPct val="65000"/>
              <a:buFont typeface="Wingdings"/>
              <a:buChar char="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03120" indent="-228600" algn="l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7440" indent="-228600" algn="l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651760" indent="-228600" algn="l" rtl="0" eaLnBrk="1" latinLnBrk="0" hangingPunct="1">
              <a:spcBef>
                <a:spcPct val="20000"/>
              </a:spcBef>
              <a:buClr>
                <a:schemeClr val="accent3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26080" indent="-228600" algn="l" rtl="0" eaLnBrk="1" latinLnBrk="0" hangingPunct="1">
              <a:spcBef>
                <a:spcPct val="20000"/>
              </a:spcBef>
              <a:buClr>
                <a:schemeClr val="accent4"/>
              </a:buClr>
              <a:buFont typeface="Wingdings"/>
              <a:buChar char="§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  <a:tabLst/>
              <a:defRPr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Baseline for Target 1: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Current percentage of children is 83% (2014)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>
                <a:solidFill>
                  <a:schemeClr val="bg1"/>
                </a:solidFill>
              </a:rPr>
              <a:t>Current percentage </a:t>
            </a:r>
            <a:r>
              <a:rPr lang="en-US" sz="900" dirty="0" smtClean="0">
                <a:solidFill>
                  <a:schemeClr val="bg1"/>
                </a:solidFill>
              </a:rPr>
              <a:t>of countries is 69% </a:t>
            </a:r>
            <a:r>
              <a:rPr lang="en-US" sz="900" dirty="0">
                <a:solidFill>
                  <a:schemeClr val="bg1"/>
                </a:solidFill>
              </a:rPr>
              <a:t>(2014)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  <a:tabLst/>
              <a:defRPr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Baseline for Target 2: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Current number of countries with Hotlines 51 (44 are members of INHOPE network ; 2014)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>
                <a:solidFill>
                  <a:schemeClr val="bg1"/>
                </a:solidFill>
              </a:rPr>
              <a:t>Current percentage of </a:t>
            </a:r>
            <a:r>
              <a:rPr lang="en-US" sz="900" dirty="0" smtClean="0">
                <a:solidFill>
                  <a:schemeClr val="bg1"/>
                </a:solidFill>
              </a:rPr>
              <a:t>countries with Hotlines is 26% </a:t>
            </a:r>
            <a:r>
              <a:rPr lang="en-US" sz="900" dirty="0">
                <a:solidFill>
                  <a:schemeClr val="bg1"/>
                </a:solidFill>
              </a:rPr>
              <a:t>(</a:t>
            </a:r>
            <a:r>
              <a:rPr lang="en-US" sz="900" dirty="0" smtClean="0">
                <a:solidFill>
                  <a:schemeClr val="bg1"/>
                </a:solidFill>
              </a:rPr>
              <a:t>2014)</a:t>
            </a:r>
            <a:endParaRPr lang="en-US" sz="900" dirty="0">
              <a:solidFill>
                <a:schemeClr val="bg1"/>
              </a:solidFill>
            </a:endParaRP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 smtClean="0">
                <a:solidFill>
                  <a:schemeClr val="bg1"/>
                </a:solidFill>
              </a:rPr>
              <a:t>Current percentage of children is 22% (2014)</a:t>
            </a:r>
            <a:endParaRPr lang="en-US" sz="900" dirty="0" smtClean="0">
              <a:solidFill>
                <a:schemeClr val="bg1"/>
              </a:solidFill>
              <a:latin typeface="Calibri"/>
            </a:endParaRP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  <a:tabLst/>
              <a:defRPr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Target 3 &amp; 4: 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Currently no data available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 smtClean="0">
                <a:solidFill>
                  <a:schemeClr val="bg1"/>
                </a:solidFill>
                <a:latin typeface="Calibri"/>
              </a:rPr>
              <a:t>Will attempt to build data and create benchmark by 2020 with the help of COP partners</a:t>
            </a:r>
          </a:p>
          <a:p>
            <a:pPr lvl="0">
              <a:buClr>
                <a:srgbClr val="C0504D"/>
              </a:buClr>
              <a:buFont typeface="Wingdings" panose="05000000000000000000" pitchFamily="2" charset="2"/>
              <a:buChar char="v"/>
              <a:defRPr/>
            </a:pPr>
            <a:r>
              <a:rPr lang="en-US" sz="900" dirty="0" smtClean="0">
                <a:solidFill>
                  <a:schemeClr val="bg1"/>
                </a:solidFill>
              </a:rPr>
              <a:t>Target 5:</a:t>
            </a:r>
          </a:p>
          <a:p>
            <a:pPr lvl="1">
              <a:spcBef>
                <a:spcPts val="3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r>
              <a:rPr lang="en-US" sz="900" dirty="0" smtClean="0">
                <a:solidFill>
                  <a:schemeClr val="bg1"/>
                </a:solidFill>
              </a:rPr>
              <a:t>Qualitative approach to measurement</a:t>
            </a:r>
            <a:endParaRPr lang="en-US" sz="900" dirty="0">
              <a:solidFill>
                <a:schemeClr val="bg1"/>
              </a:solidFill>
            </a:endParaRPr>
          </a:p>
          <a:p>
            <a:pPr lvl="1">
              <a:spcBef>
                <a:spcPts val="700"/>
              </a:spcBef>
              <a:buClr>
                <a:srgbClr val="C0504D"/>
              </a:buClr>
              <a:buSzPct val="60000"/>
              <a:buFont typeface="Wingdings" panose="05000000000000000000" pitchFamily="2" charset="2"/>
              <a:buChar char="v"/>
            </a:pPr>
            <a:endParaRPr lang="en-US" sz="900" dirty="0" smtClea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788024" y="2195114"/>
            <a:ext cx="3888432" cy="141577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lvl="0"/>
            <a:r>
              <a:rPr lang="en-US" dirty="0" smtClean="0">
                <a:solidFill>
                  <a:schemeClr val="bg1"/>
                </a:solidFill>
              </a:rPr>
              <a:t>COP TARGET</a:t>
            </a:r>
            <a:r>
              <a:rPr lang="en-US" dirty="0">
                <a:solidFill>
                  <a:schemeClr val="bg1"/>
                </a:solidFill>
              </a:rPr>
              <a:t>:</a:t>
            </a:r>
          </a:p>
          <a:p>
            <a:pPr algn="ctr"/>
            <a:r>
              <a:rPr lang="en-US" sz="2000" b="1" dirty="0" smtClean="0">
                <a:solidFill>
                  <a:srgbClr val="FF0000"/>
                </a:solidFill>
              </a:rPr>
              <a:t>80</a:t>
            </a:r>
            <a:r>
              <a:rPr lang="en-US" sz="2000" b="1" dirty="0" smtClean="0">
                <a:solidFill>
                  <a:schemeClr val="bg1"/>
                </a:solidFill>
              </a:rPr>
              <a:t>% </a:t>
            </a:r>
            <a:r>
              <a:rPr lang="en-US" sz="2000" b="1" dirty="0">
                <a:solidFill>
                  <a:schemeClr val="bg1"/>
                </a:solidFill>
              </a:rPr>
              <a:t>of children </a:t>
            </a:r>
            <a:r>
              <a:rPr lang="en-US" sz="2000" b="1" dirty="0" smtClean="0">
                <a:solidFill>
                  <a:schemeClr val="bg1"/>
                </a:solidFill>
              </a:rPr>
              <a:t>should benefit from a basic level of protection online by </a:t>
            </a:r>
            <a:r>
              <a:rPr lang="en-US" sz="2000" b="1" dirty="0">
                <a:solidFill>
                  <a:schemeClr val="bg1"/>
                </a:solidFill>
              </a:rPr>
              <a:t>2020</a:t>
            </a:r>
            <a:r>
              <a:rPr lang="en-US" sz="2000" b="1" dirty="0" smtClean="0">
                <a:solidFill>
                  <a:schemeClr val="bg1"/>
                </a:solidFill>
              </a:rPr>
              <a:t>*</a:t>
            </a:r>
          </a:p>
          <a:p>
            <a:pPr marL="171450" indent="-171450" algn="ctr">
              <a:buFont typeface="Wingdings" panose="05000000000000000000" pitchFamily="2" charset="2"/>
              <a:buChar char="v"/>
            </a:pPr>
            <a:r>
              <a:rPr lang="en-US" sz="800" dirty="0" smtClean="0">
                <a:solidFill>
                  <a:schemeClr val="bg1"/>
                </a:solidFill>
              </a:rPr>
              <a:t>Baseline: Current number of children who have a basic level of protection is 62% </a:t>
            </a:r>
            <a:endParaRPr lang="en-US" sz="800" dirty="0">
              <a:solidFill>
                <a:schemeClr val="bg1"/>
              </a:solidFill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2562106" y="6518884"/>
            <a:ext cx="3744416" cy="22248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560" tIns="8890" rIns="35560" bIns="8890" numCol="1" spcCol="1270" anchor="ctr" anchorCtr="0">
            <a:noAutofit/>
          </a:bodyPr>
          <a:lstStyle/>
          <a:p>
            <a:pPr lvl="0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i="1" dirty="0" smtClean="0">
                <a:solidFill>
                  <a:srgbClr val="FF0000"/>
                </a:solidFill>
              </a:rPr>
              <a:t>* Combination of Indicators of Target 1 &amp; Target 2 </a:t>
            </a:r>
            <a:endParaRPr lang="en-US" sz="1000" i="1" kern="1200" dirty="0">
              <a:solidFill>
                <a:srgbClr val="FF0000"/>
              </a:solidFill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1788181" y="2195114"/>
            <a:ext cx="2135747" cy="2088525"/>
            <a:chOff x="2054449" y="-189800"/>
            <a:chExt cx="1368153" cy="1642550"/>
          </a:xfrm>
        </p:grpSpPr>
        <p:sp>
          <p:nvSpPr>
            <p:cNvPr id="57" name="Round Same Side Corner Rectangle 56"/>
            <p:cNvSpPr/>
            <p:nvPr/>
          </p:nvSpPr>
          <p:spPr>
            <a:xfrm>
              <a:off x="2054450" y="-189800"/>
              <a:ext cx="1368152" cy="252028"/>
            </a:xfrm>
            <a:prstGeom prst="round2Same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Target 1</a:t>
              </a:r>
              <a:endParaRPr lang="en-GB" sz="1200" b="1" dirty="0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054449" y="82498"/>
              <a:ext cx="1368152" cy="1370252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tIns="36000" rtlCol="0" anchor="ctr" anchorCtr="0"/>
            <a:lstStyle/>
            <a:p>
              <a:pPr lvl="0" algn="ctr"/>
              <a:r>
                <a:rPr lang="en-US" sz="1400" b="1" dirty="0" smtClean="0">
                  <a:solidFill>
                    <a:srgbClr val="002060"/>
                  </a:solidFill>
                </a:rPr>
                <a:t>Worldwide, </a:t>
              </a:r>
              <a:r>
                <a:rPr lang="en-US" sz="1400" b="1" dirty="0" smtClean="0">
                  <a:solidFill>
                    <a:srgbClr val="FF0000"/>
                  </a:solidFill>
                </a:rPr>
                <a:t>90</a:t>
              </a:r>
              <a:r>
                <a:rPr lang="en-US" sz="1400" b="1" dirty="0" smtClean="0">
                  <a:solidFill>
                    <a:srgbClr val="002060"/>
                  </a:solidFill>
                </a:rPr>
                <a:t>% of countries should set in place legislation addressing child sexual abuse material online </a:t>
              </a:r>
              <a:br>
                <a:rPr lang="en-US" sz="1400" b="1" dirty="0" smtClean="0">
                  <a:solidFill>
                    <a:srgbClr val="002060"/>
                  </a:solidFill>
                </a:rPr>
              </a:br>
              <a:r>
                <a:rPr lang="en-US" sz="1400" b="1" dirty="0" smtClean="0">
                  <a:solidFill>
                    <a:srgbClr val="002060"/>
                  </a:solidFill>
                </a:rPr>
                <a:t>by 2020</a:t>
              </a:r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1835696" y="4405890"/>
            <a:ext cx="2135745" cy="2001708"/>
            <a:chOff x="287524" y="1772816"/>
            <a:chExt cx="1368152" cy="1512168"/>
          </a:xfrm>
        </p:grpSpPr>
        <p:sp>
          <p:nvSpPr>
            <p:cNvPr id="60" name="Round Same Side Corner Rectangle 59"/>
            <p:cNvSpPr/>
            <p:nvPr/>
          </p:nvSpPr>
          <p:spPr>
            <a:xfrm>
              <a:off x="287524" y="1772816"/>
              <a:ext cx="1368152" cy="252028"/>
            </a:xfrm>
            <a:prstGeom prst="round2Same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/>
                <a:t>Target 2</a:t>
              </a:r>
              <a:endParaRPr lang="en-GB" sz="1200" b="1" dirty="0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287524" y="2027996"/>
              <a:ext cx="1368152" cy="1256988"/>
            </a:xfrm>
            <a:prstGeom prst="rect">
              <a:avLst/>
            </a:prstGeom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tIns="36000" rtlCol="0" anchor="ctr" anchorCtr="0"/>
            <a:lstStyle/>
            <a:p>
              <a:pPr lvl="0" algn="ctr"/>
              <a:r>
                <a:rPr lang="en-US" sz="1400" b="1" dirty="0" smtClean="0">
                  <a:solidFill>
                    <a:srgbClr val="002060"/>
                  </a:solidFill>
                </a:rPr>
                <a:t>Worldwide, </a:t>
              </a:r>
              <a:r>
                <a:rPr lang="en-US" sz="1400" b="1" dirty="0">
                  <a:solidFill>
                    <a:srgbClr val="FF0000"/>
                  </a:solidFill>
                </a:rPr>
                <a:t>7</a:t>
              </a:r>
              <a:r>
                <a:rPr lang="en-US" sz="1400" b="1" dirty="0" smtClean="0">
                  <a:solidFill>
                    <a:srgbClr val="FF0000"/>
                  </a:solidFill>
                </a:rPr>
                <a:t>0</a:t>
              </a:r>
              <a:r>
                <a:rPr lang="en-US" sz="1400" b="1" dirty="0" smtClean="0">
                  <a:solidFill>
                    <a:srgbClr val="002060"/>
                  </a:solidFill>
                </a:rPr>
                <a:t>% of countries should set in place mechanisms to report online child sexual abuse content </a:t>
              </a:r>
              <a:br>
                <a:rPr lang="en-US" sz="1400" b="1" dirty="0" smtClean="0">
                  <a:solidFill>
                    <a:srgbClr val="002060"/>
                  </a:solidFill>
                </a:rPr>
              </a:br>
              <a:r>
                <a:rPr lang="en-US" sz="1400" b="1" dirty="0" smtClean="0">
                  <a:solidFill>
                    <a:srgbClr val="002060"/>
                  </a:solidFill>
                </a:rPr>
                <a:t>by 2020</a:t>
              </a:r>
              <a:endParaRPr lang="en-US" sz="1400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989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2776"/>
            <a:ext cx="8640960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31788" y="6165304"/>
            <a:ext cx="6932500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i="1" dirty="0">
                <a:solidFill>
                  <a:schemeClr val="tx2"/>
                </a:solidFill>
              </a:rPr>
              <a:t>Data from Trend Micro Infographics released in June 2014</a:t>
            </a:r>
          </a:p>
        </p:txBody>
      </p:sp>
    </p:spTree>
    <p:extLst>
      <p:ext uri="{BB962C8B-B14F-4D97-AF65-F5344CB8AC3E}">
        <p14:creationId xmlns:p14="http://schemas.microsoft.com/office/powerpoint/2010/main" val="2458333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467544" y="3861048"/>
            <a:ext cx="8208912" cy="249289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16" descr="unesco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8609" y="4188370"/>
            <a:ext cx="1772046" cy="1785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17" descr="unctad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0088" y="4209706"/>
            <a:ext cx="1368152" cy="1764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8" descr="undp">
            <a:hlinkClick r:id="rId6"/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8320" y="4188370"/>
            <a:ext cx="864096" cy="1817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Description: Itu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4121696"/>
            <a:ext cx="1406200" cy="16442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05253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539552" y="3240360"/>
            <a:ext cx="8208912" cy="3645024"/>
            <a:chOff x="1043608" y="663592"/>
            <a:chExt cx="6480720" cy="2736304"/>
          </a:xfrm>
        </p:grpSpPr>
        <p:sp>
          <p:nvSpPr>
            <p:cNvPr id="4" name="Rounded Rectangle 3"/>
            <p:cNvSpPr/>
            <p:nvPr/>
          </p:nvSpPr>
          <p:spPr>
            <a:xfrm>
              <a:off x="1043608" y="663592"/>
              <a:ext cx="6480720" cy="2736304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pic>
          <p:nvPicPr>
            <p:cNvPr id="5" name="Picture 16" descr="unesco">
              <a:hlinkClick r:id="rId2"/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72325" y="754451"/>
              <a:ext cx="795720" cy="7625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17" descr="unctad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6512" y="754451"/>
              <a:ext cx="585950" cy="7186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8" descr="undp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02697" y="778986"/>
              <a:ext cx="369015" cy="7380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19" descr="undesa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5480" y="754451"/>
              <a:ext cx="660884" cy="7035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20" descr="fao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60644" y="1684535"/>
              <a:ext cx="624639" cy="624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21" descr="unep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72320" y="754450"/>
              <a:ext cx="718358" cy="7625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2" descr="wmo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77785" y="1536630"/>
              <a:ext cx="645778" cy="884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23" descr="ilo">
              <a:hlinkClick r:id="rId16"/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2181" y="1671452"/>
              <a:ext cx="710586" cy="6415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24" descr="who">
              <a:hlinkClick r:id="rId18"/>
            </p:cNvPr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0133" y="778602"/>
              <a:ext cx="703273" cy="714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13" descr="Description: Itu"/>
            <p:cNvPicPr/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00503" y="754451"/>
              <a:ext cx="598805" cy="66802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5" name="Picture 26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077" y="2134538"/>
              <a:ext cx="1213039" cy="5037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7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0678" y="747933"/>
              <a:ext cx="844510" cy="7435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8" name="Picture 40" descr="escwa">
            <a:hlinkClick r:id="rId23" tooltip="UNODC [United Nations Office on Drugs and Crime]"/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87" b="33454"/>
          <a:stretch/>
        </p:blipFill>
        <p:spPr bwMode="auto">
          <a:xfrm>
            <a:off x="1171115" y="4365104"/>
            <a:ext cx="2536789" cy="52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2" descr="un women">
            <a:hlinkClick r:id="rId25" tooltip="UN Women [United Nations Entity for Gender Equality and the Empowerment of Women]"/>
          </p:cNvPr>
          <p:cNvPicPr>
            <a:picLocks noChangeAspect="1"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80" b="13957"/>
          <a:stretch/>
        </p:blipFill>
        <p:spPr bwMode="auto">
          <a:xfrm>
            <a:off x="1028464" y="5013176"/>
            <a:ext cx="1455304" cy="630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2" descr="escap">
            <a:hlinkClick r:id="rId27" tooltip="UNESCAP [UN Economic and Social Commission for Asia and the Pacific]"/>
          </p:cNvPr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47408" y="5890199"/>
            <a:ext cx="1736505" cy="57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30" descr="eclac">
            <a:hlinkClick r:id="rId29" tooltip="ECLAC [UN Economic Commission for Latin America and the Caribbean]"/>
          </p:cNvPr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123" y="5851656"/>
            <a:ext cx="1000125" cy="1000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38" descr="escwa">
            <a:hlinkClick r:id="rId31" tooltip="ESCWA [UN Economic Commission for Latin America and the Caribbean]"/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7049" y="5782269"/>
            <a:ext cx="907994" cy="907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6" descr="uneca">
            <a:hlinkClick r:id="rId33" tooltip="UNECA [UN Economic Commission for Africa]"/>
          </p:cNvPr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208" y="5851656"/>
            <a:ext cx="1212263" cy="727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2" descr="wfp">
            <a:hlinkClick r:id="rId35" tooltip="WFP [UN World Food Programme]"/>
          </p:cNvPr>
          <p:cNvPicPr>
            <a:picLocks noChangeAspect="1"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8188" y="4358500"/>
            <a:ext cx="1136220" cy="113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4" descr="UNECE">
            <a:hlinkClick r:id="rId37" tooltip="UNECE [UN Economic and Social Commission for Western Asia]"/>
          </p:cNvPr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48" y="5851656"/>
            <a:ext cx="971136" cy="97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144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/>
          <a:lstStyle/>
          <a:p>
            <a:r>
              <a:rPr lang="en-US" dirty="0" smtClean="0"/>
              <a:t>WSIS Forum 2015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80728"/>
            <a:ext cx="8229600" cy="5073427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i="1" dirty="0"/>
              <a:t>Innovating Together: Enabling ICTs for  Sustainable Development </a:t>
            </a:r>
            <a:endParaRPr lang="en-US" b="1" dirty="0" smtClean="0"/>
          </a:p>
          <a:p>
            <a:pPr marL="0" indent="0" algn="ctr">
              <a:buNone/>
            </a:pPr>
            <a:r>
              <a:rPr lang="en-US" dirty="0" smtClean="0"/>
              <a:t>25-29 May 2015, 26-27 High Level Track </a:t>
            </a:r>
          </a:p>
          <a:p>
            <a:pPr marL="0" indent="0" algn="ctr">
              <a:buNone/>
            </a:pPr>
            <a:r>
              <a:rPr lang="en-US" dirty="0" smtClean="0"/>
              <a:t>Geneva, Switzerland</a:t>
            </a:r>
          </a:p>
          <a:p>
            <a:pPr marL="0" indent="0" algn="ctr">
              <a:buNone/>
            </a:pPr>
            <a:r>
              <a:rPr lang="en-US" dirty="0" smtClean="0"/>
              <a:t>ITU Headquarters and WIPO Headquarters 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AutoShape 2" descr="data:image/jpeg;base64,/9j/4AAQSkZJRgABAQAAAQABAAD/2wCEAAkGBxQTEhUUExQVFhUXFRgXGBcYFxYXFRYWFBcYFxUYGBcYHCggGBwlHxcVITEhJSkrLi4uFx8zODMsNygtLisBCgoKDg0OGxAQGywkICQsLywsLCwsLCwsLCwsLC0sLC0sLCwsLCwsLCwsLCwsLCwsLCwsLCwsLCwsLCwsLCwsLP/AABEIALcBEwMBEQACEQEDEQH/xAAcAAACAwEBAQEAAAAAAAAAAAADBQECBAYABwj/xABMEAACAQIEAwQGBQcJBwQDAAABAhEAAwQSITEFIkEGE1FhMkJxgZGhFCNSYrEHcoKSosHRFRYzQ1NjsuHwNERzg8LS8SQlo7NUZJP/xAAaAQADAQEBAQAAAAAAAAAAAAAAAQMCBAUG/8QAOBEAAQMCAwUHBAICAQQDAAAAAQACEQMhEjFBBFFhcfATIoGRobHRBTLB4ULxFFJyI0NiggYkM//aAAwDAQACEQMRAD8A5KzZr2V5a2W7VCaOlqmhGW1QhFW1QmjLapJogs0IhW7qhC93dNJSLdCFPd0IVxaoTUZKEL2ShJe7uhCju6EL2ShC9koQoyUIUd3QhTkoQvJZkx40EgCSmBJhExGCdIzKwnaVInbaRruPjWGVWuEgrTqbm2hU+it9lvga0XDelhO5VOCf7DfqmliG9GF25BuWSNxHtpiCggoLW6ayhNboTQ3t0IQzZpIhCe3SQgNboQgG3QhCazNJCH3ArK0nNm1VFMLSlqhOEdLdCEZbdCEVUoTRrdugpogt0k14JTSUm3RKFGShJSEoQrZaEKuWmhey0IU5KEL2ShCjJQkivhwoJuMFA3EZnE+KL6I82yjzqDtoYLC/XWSqKR1Qv5QsBgqKbjEFhmYkMq5pYLZBG6EAG4JqbqtQicuuPwtBrOfXD5WW7xVCbZ7sLmcoQXW3ly5P6vnaYcaTOk9awatVvdbfjn8LTW03XNuHUrK3FiFuE5AVuKnJbZozC5Mi60boNf41WXEjO44DduBU4zy8ifdHt8WYXCAXE2A4K93aykWBdJGVSQdDrPU1gsJF9+8nWFoOjXTgNFZeONFm4z3jDsDmvMfQZXJIEZjDx7hR2FyAB5dblntQADJ81a5i7gS8mVS1t163joGa239Z4stAY2WnfwHPcnJhw3c+S3Wbrm6oKALdtjUG7ObL/wATT6xIqZaAwxoeHxuK2JxDiOPWa13b7WzbksFBKnK9wSPS1BYzOZh+jWWtxg5eQW3HAR8lYPpxAdWVnKPBzOH0Mg+kmwKjT79UwXBGo4j89Qsl0Tw63K+MsW2V8sZ1AuLyqv1ZIkELodHU7eqadN7w4TkbZzdJzWkGM80ldK7VzquWKSaEwpIQHt0JIJtihC8yVlaCzstEITy1YrUrMLamFpStQiphKMSWFW7iKcpwrC3QkrqlCFdRQmrlKSFIShC8bdOUlGShCqUpoXslCS9koQoy0JKrkASSAB40nODblaDSckrxfaAAHuuQdy9zvD/SkBigKoYyiQDqRIPXpxuL3mHb4j5P9q4DWCRuz/SVd87kwJjCghm1AL21MQfqx6XhWg0NFzF/z5rBcXE2064K+EtOzWJYkdxclVkiSb4kBBk6xuNq06AHGNdfDfdJpJLROmnjushfRVWzbJOi3bhksqwStnQquczy7b1rES48hvO/ks4cLRz4DdzThMOhuYpAFzSWMK59G8BrmcCec7VIuIa1xn03KkAuc23qdeaZ4fBjPZOkkC2YVFJHNa6KdIG01I1LEeOZVAy4M+g+Fa1h5QDM8ZgRzsPTUyIXL9gfGjFeYHl8p4YESfNa8Ym7HXOhkTc3yd5pz/aUCkwzbdwG/luQ4a/k9ZoHC3DW1cDVGYDmfpDr63Us/wAK3UbhdG/gOW5ZpnEJ3c/lNDajMoOnpAzcnlMD1+oYn3VHEc4HkFTCOisV+8RcykMc6xq27DQaFTuyA++qNb3Z3db1knvRvQMJcVyt0iAM1u4Mqk5CIY5gV9VyNQfRoeC3u+Iv1qhpB73mlWKw5RmU7qSp9oMGvQa4OAcNVzOBaSNyDkFCSG6UIQHWmhBK0kIRSkhVNmhNdDbalCJW6zdEQZpQtByIzL0oAKUhVrSF4JQkrBaEKctCSIooTVslJOFJWhEKClOUlXJTSXstCFGWhCX8V4ktlW2LhcwU6CMwUSY01YabnpU3VIMBaDbSVzmMxLvcmScr4sBiPRCWhkCgbag7S2hPU1A3zzIHv1wVRw49dXWfuVRWzasuEWZ1MNdRjykQNW9Y+6iSTb/b8b/jzQbDw6t8rUjsS2Vf9ztsCeaCyWoXXlG/QCtCABJ/l8+PqsEEk2/j1w9EXCWma5hMzyQjSslp+sujTKCu0DcU3ABr4Hj4Dek15xMBPh4ndZVTAAYYKxbS6TzFLR1RR6xPhW8c1JEZcT7LGH/p3Bz4N904V0W/iGGXMyMde8JiVuHoF2HSowXMaDMTwHDmq5PJEZcT+lZuLwlpwWgMwgW7YkoQ25JI0fxpihciPUoNQwDPoFo+nc19Abn1cxDhfQuBdIXTQn3UhSs0wL893NM1DLhJ9N/JHXHn6l/rCOs3CfRuGZEa6FfjR2X3C3lw5oD7B1/NXt4kr3qQ0oQfTb1WyHX9P5UdmDBtfh4p4okXtxKbYVs6q+ZxK5SO8aBvbJ+AzVB4wktgeXiqNuAZKwNiSUmHBRurhjzD7ydCnzqvZ3i1+Y/PFTx2168FLjIrsCMjAMALa8oEsAcpBMKz/CpxiIBz5/K3lJHsl3E4fJdGzoJiRzJyNvr0B/Srr2cwCw6H0N1KreHb/wAdBYctWUkNloQhMlCEPuqEKly3STWYpQhOkWtLCOgoTWhKUJoyJSTRAlCFbLQhey0JKwFCEVRSWl7LQheyUkKCtNCgrTSSfi3Esv1ds85IUkRykvbWIPWLg16VF9TQdZ/HWmmt39ZfK5tVzMhYem1tSuoA73EPdn2kLb+OtRcSB3ePoI+VVkE97h6mVUuSgbabF8zHrvdNoRlEjXoPfNOLxxFvCepSmRPA+8Id7Kq3Cd1w2HtnZjEWj6B0Gq7Enbbx0JJHEk++vwgwATwHUfKZYPnvvaIkDD2/Fjp3OgB5QPdSdLaQcDF/nXP1WRDqhaRNvjTL0V7auL2FBOVZgqWC6d/cA5JE6RsKfdLHnM+eg1SlzXNGQ5xruQsFg5w7iS31yEd2jNAyuNc2X41ZziHi0W1IG7mpNgsMGb6A/pNVwy99MGTYiC6KZOGj0dT/AAqWI4MxnuJ1VYGPI5akDRHt8Mm0FCJyuxIbvfXVR5a8h8qyawxTJ8AOtUxSOGIHiT1oma8PHeMwUTcQyQqtJuW59dvtEaVPtLRe3HcVTDfS/DgiFWS0dTo0t9Xb2uDKNAY9T50Ahzv2dEoIbn6BHtWwz5hEXFA9BNTcUb/pEfCgkgRu4nT9JgSZ38AjphmKZQ0QfsJBDCPllPxrJcJkj1K0AYifQKLljVz0cT/R29D6cSDJ1EUB2XDiiM+PBYu+UKpOTLJVhFySNz47hiPdWiwyc58FkOEDL1We5YHd3EAUG2/eABp0YhHhSAQP6LxqlNxDwd4jLxH5ScO6RuulZWuxc6GyUkIbLQhCK0IQnWhNCIoQnKJTWEZUoQiqlJNFVaE0QLQhWC0IVgtJCkLQhXUUkwiAUlpSRQhVihJL+LYzIMq+lEnyUEZveRMVOo+LBaa3VcxdXmHgp38e7F1uo/ubfwFQ064fKpkeuPwhLC5BsQR0jmw+HkwI11Y+XLTN56zPXFIadZDrgsl0cjHQA4RIJ+09xWAkDwzGB8KoBeP/ACy5Dq5WCTE5d3Pr8ImPhRiTAjNaQ5vBA4EKpnUrpJAM0Mk4RzNvk2903/y8M/jNab9/6zFLBOWzJEwhh7WmVY6QJmmxvdYd55nXU/Cw93eeDOXIabvlF4ezF8FlQCcswslVGIcHmIJAjzrTwML8R9eHkssmWYW+nHebry2LrWLgY697ajO4kCLs7mfCmCwPBaNDkOScPwnEdRmeaZ4fD/XWOdSe7tLoH1lAhjlj51kuOB1jmd3NOBjb3t29OreJlWYJd3TdAJ0fUQT4/MVzGmQQCR5q4qAgkA+SMmNg2pTQ5TJuKpADkeiRrovjRgmb+k6IxZW9eKI1/Mt1Cq+jBHeKdnA6bRJphkEEH0O5GLMR6hXw8qlvKqmJ6kwVbNuPaKHQXGT6IGQgeq2d82ZgFTY5dTrBDf4Qal3LX9FSHXsqXbzBVOQTJ0NxV2Ibr7flWg0Sb+hWZO71WC9gRzqAdYYEMrTlmNBHqsxqgqZG3ssFmYuvWsKA6Fs4Dr3bErCwQbe8kyBlbakXHCY0M5+KbQAQTy/CT3bRBIO4JB9oMGu8EESFzkEGChMtCENrdCENloQhPQhZiKEJ6iULKMqUJoirQhFVKSFcLQhWC0k1YJQhSEoQpCUJqwFJCkChNRcMAmJgEx4xSJgSgCTC5rG+kc2sGWPSCcriN9JmuOZur5deaWYi2zKRtymOusWrcwR4tc+PWtAgGetT8LBBNutB8rLi3HOV8L90Hyciz6J35QfjW2g2B4D89apFwueZ/HWiBi7Zy3kT0k+jJI09RgfJRp0ittiWl2RxdcVl094Nzt1wU8QRT9LOrB76bEKBk7wmWYQNx8vGmwkYNIB47tAk+Dj1vy9St95wLuLMqGCmcqFjl722Ne8MbAbadaTBLWZnmYGR3XSd9z8hyE6jfZa8JiVzYOczZmWM7E7YhxMDr/kOlBYYfECNw4b0sQlkknLM8dyBhcVFq+FVVCNbjlB6uu7TO9Vc2XNkm86/ELLYDXQBaNPldTwhma1YfmJjU6+rdZfZ0rhqgCoR1kuukSWA9ZrXh0VS4OReTWSo1DpvPvrGYt1mt5G6ycQsh8pDLEssyDtlbp5sa6KLi0RB8lCqA6IIWj6MO/c5hzh+jeupZeniRWsfcFjaPRLD3zfP8rXwwqEYMwgMCIDesDPq/dFTqgkiAt0yADdEAAdDmGXl6N6K8h6fdPxrkdSq4y4Cy6W1KeEAlHNxebmGkTo3qmPs/e+VXg2sogjehMQMvMIEdY0Bykax6kfGlBvZORZea2OYDLI3grI9Vtuvo/CkYsSnfJKOL2jnDERnUMfzvRf9pWPvrs2Z0sjdb4UawvO9L2WrqKEwpoQmWhCEy0IQ8lCITpEoWUZUpJoirSTRFShCuFpJqwWhCtloQpC0IU5aSF7LQhTFCELFEhTG+w8vE+4SfdU6x7qpTF1zOMQHfRNl6+mGTXSRzZfj8ecW63fpUddYs2dgzaKGttGkQXu3ND7FTetRA8/YBYzPl+T8JbcX6uP7lUMzlm+/e7jfSBpVh93jPGwjL5U/4zwjhe+evgi3dbmus44JqB08ANNmjWaTRAtbuSm43vfvQseNsuyEMcubEXIzTsqqFAGpI5j061WkWgy0T3Rl+f2p1QSIcYuYlOb4DXMWwRoIyyctsf0qzzkkH0fKpsloYCR76blp9y8gH213rRhx9ZhDFpRpA5mOt95AIlff40H7X3cfIacbpgkFkBo9deFlfAXQBeAZpABIVUt6hwDqvt8Kbm3acPmSdEBxhwLvIAaouMZStlypY5Wgs8xluOdwATvWmNcC4CB4cFlzhAJk8zxXRHBKLjmBzF5idtW6kjpXIKjiAJy5LowNBJhabWEXKRA5WB9FPXBn1fuCkXuznrop4WxELPcusty2Z05ZEAeg2Q9PuVZrAWH5PNSc8tcP0nKWgHK6xB9Y9NfH7rVz5tlW1hFt2pDCTodOY7MAR18c1BtCFhcHOJJh/HUS4g/An5VuBh5LMnFzU4VZzK8aQRyr10O4/NpPtdpQy9iq3cMDrAObQyNJ1QnSOozVkOItOS2QEqdCbJlcptvMa+jc0O56FR+vXSwxUzzHspG7MsvysBFdKkhslCENloSVO5J2olNR9F8x8aWJOE0RaawjKtJNFC0k1cLSQrhaEKwWhNSFpIUhaEK2WhC9loQvZaELFxU8oHQmT55dht5+6KjWOQVKeq5zFOAc7DbmVREwALkdOtpt/H4TAm3W78puMX63/hL7ilmg6Ad6DEiQlpEEg78znXzrYynl7k28lk5xz9gL+aq1oZ8vTvcOmkH+hUZ510EtWge7PBxvx91kjvQd7Rbh7IWBMtZO2fEO8CG15CZb3HbTpWnizhnDQL236fKTDdpyknK/r8IGGY93ZyiJxTLpqYItAmTqDp0iquEudi/15DVSZ9ow/wC3M6dWW20rlcUWEZsuXNyzNyYBaJ2pSwFgHpfTcEgHxUJ8JtrxW23ZUNgwXHKBoA0k9+xEECPLfpSxOIqEN6jzVIYCwF3UrTw/CrN8qHbMp6RvdQwCC34Vl7nd2YHjwKbcJxQCf7W67aXuk5FWC4AdwPsn7pO9Ya44j3t2Qn5WnDuju+Zj4Tlbjm4JC5W6gMZzr46/aqEMAzM9cFaXTkIUl3COSwHomcg6GDoU+8K0AwkAA+f7WZcAZI68EF78ohzHdlkIu4IbxH26oGXIj163LJdYGfRORd51kvzgGenOPzuk1HB3csuKpivmpOZVJLP0MzroYj0vvfKlAJEBO4GaooLgFWfQkdDrvOrfe+VMgNJBHqkLix9FDPzkSZYacqn0hKjWeuWlHdBjLinPeifRAt4iVMuInXkOuYeS/dPxrRZfIpYjGi9cGZipyZXXKDqDLarudeeBt0rE4QDeQd3Wi0BJjf17pD3fjXoyuaFDIP8AXlWcQTwoD3FkDxy9R605fiRHvrPaAm3Up4IzQcTiFTVoC94qHyLgZCfASYmsGrhdB3x6JkANnrOETCkFBJExB9o0O3mDTp1A5sz0EOABhMUWqqUIyrQmiKtJNEC0kKwWhCsFpJqwWhJTloTU5aEL2WhC9loQlXGW2+7qoPrPv4eEa+cVCoe8qtHdXPYu2CDm9blH6YQCfAjvm8h86BYz4+U/CyYIjTLzj5WEo12Y0zCeoP1t8ncb6INPbW7N4+1m/tYMu4e9z+kW7bC3FPTv7twnyFsPJjzrIMtO/CB6wmRDhGUk+iwYT/dyAWKpfuTsknvIknX1NtN6tU/lNpIHHTTxU6Zs2BJgnhrqiYE5fooDQGukwg0J7xVMkmeg8ZpPbOO0215bhb2Qx0BgmL6c95ui4bKtu/yjlZNSSZOZhrsPl8aocRcy+/K2niptawB9t2fNMbV9gcLpBO8ALtfcRoKxgBxyfXgqy4FoAj+0ezYYtiJk8jASSf6xCIo7oDI6sn3yXeK1LgXFhAQZ7xjt0ZLZH4GjtW9ob6fkpdk7AF0GHuKO6BZQQtrTMs6Ko2melchuTHFdAsBPBWcqwZMwnIR4+icx2/NptkEGD5JOAMiUMYVTbhW9FpOj+sPzfuVUPcHXCmWDDYpgFGS3rqFjw2JA39gqcmTb2W7QLrbdhpHjPzBj8RUxIEwqGCYlZsKgQHXwPw0P+IVp5JOSywQM0LEuIDgjrGjbiWHTwikHQCCtYZMhLLtxe/azmGZkZlGoOQEMpAIHhH/mtdsJaDmmNneWOeMh6buuKXY3j6WVQOd1Z1IiJst9cvU5llm/5ZqeMOeOP9FLCQ08J+R7FKuJcUbM5RC4S463lXVhbYZ0uL48rD26+0aqPdTptOYgg+Fl07LSpVqjmuMGxB4nTl1wSO7x9+9Qggo+U+Izpo+WNgyGY8x1mvMG3vudREj0kc9eK9+p9CZUZ2bLOMlp9cJ9QD7oXEcFevMvcsAlpnts0kfVu6myQYOoKAg/m1ultBLy0aXB4TMLi+pfTyKNOr9riIcDvAgnxET5pxx22QLlzlDp3IZG/orqP3mddfVP1cNuJ6EaemH9o2HCxHkV4VWi1ryWnK19RuPW9c7ct4NyXN+9ZLGTaNrvchO47zOMw6jyI33rmf8AT6jnFzTZcb2USe9IPmvpSLXqKiKq0k0QLQhEC0k1cLQhSFpIVgtCFOWhCkLSQvZaEL2WmhIOMXYZmOrD0Br6nQ9dYPxPu58yrZBJ3tZSWcxlIPuttdIBjQ6KlPSN/wCY/azrO79/pYcMWDKFHW0pkf2KFmy69S/WqPuDPE+Z13ZKbAREcB5DTesxsEFC5kjD3iSd93X2RqK2MjhsMQ/GuawcxiucJ6jJTZQg2mPq4ViSdNbgaBJ/OFNxaA5o1d7IAJLXHRvuo4cqThFaWIJIyjQE3zBJ8OUjanUxkVHAQOPL9rDOzBptJk8Of6W3D2Pq70pAZknO0dXP3SNYocRiaMWU5DlzTbiwuOGJjM8+SYm5rYYsg0nRZ1N15g5f31NrRDgAT4xpzHsque+WkkD++R91qsXgbl1SzmFeQduVgdOY+HhQWd1pwjTrJAPecMR16zU2ridzmCExc6t9pfJfKt4X44kC279rALSzXPem9qwHRHgA5PveqSB63lUC5zXFs68FUNa4AwmH0ZRcYjclgOvphoqWMkAEquASSAseHxJy3NR6IaMqDYjT0fB624ixvrrwlYEiZt4cUxstNpm0OQsTAExlVhp8fjUXuAeQDlxO6VWmwuAtnw4wsfE+Jd2wgyGtyvgGyOUJ+6TZI9rgU8MtcRu3pOJbpfluQuD8at4oXVXlnMsEwV7xCSD5h0uCfuiotcHsnq6zQrF1QjdGiXcL4kb3DrjvpcsMXuAROa04uXCZ6MOm2420rnbVNShjabge1/Ve3tOztobYMP2Oy5GxHh7QsfbRhZxHDMTOYAwT6ObRSokeMEVHaNoL6Ir0+f5j3RsbCwVKB1Efj491yXa1mm8LW9i8MTbYbrbuqpYx4ZmSQfEzW2121DIu0387ELzgwsc9pzj1b+gsVviTWsmJw45bqhXQmQt+0GGQdQDb0H5nWuzZazqodQf9wuP/ACG/nv480qjMLW1WZZcju+OELPwDi1q5nwl8C2rMbmHub905khWI1KH5a+JrmdQDjbj5deq9PZ/qjwA/lPMfn3Ce4TGXMKzpcSUuAC4vRgpIDW3GhIkxuNRPlwtc6i5fW16FD6rs4cx1xkdx1BCzYHthbvu2HvKFlHtJeBBjNDLmWIK5lQ78stG5r02VyyDFtV8fU2BtTExru+MouDyPV7WRcVgTmOSMukddIHXrXYZlcLC3CF9ARa7F5qMq0k1cLSQiBaSFYLQmrBaEKYpIVgtCFOWhC9loQqtoJOw1oJgJgSuZx1zKxd/SPNH2BMNPhofl7Zg0KjknxWGdlYn0srgaCdRat7bRJfzqzCJHW8+Gik4WPW4eOqqbqq7mD6d9wAPVyi2PLdaMJc0AcBw3rJcGkk8TGsZLHi7hPeNooXDoPFodkZgRt1YdOlUYBYZy45WFgQL+WXkpvc4yYiGi5ubwTbzzVWXmuzqRhEYkmZIFrQjprvqa02cLYt3zl46/pZdGJ0yTg18NP2r4F3N2xE5RaVmjRQSbjDQe6h7GYXTnNtdy1Tc/E2MovpvRODWCcNiMoJzGyAAN4ZprddzW1WYjlKzQaXUnYb5Jo3DWPcREKI9IA/0pjT9JfiK5v8pjQ8nq36K6v8ckt61/YWq1bVb11sy65l6mM5KjpFTftIDADoR+PkLdLZ8bzhzM+gJ/CHhb1vuSATBNvaCCcrMJ2jSR7utIbQ6o9vEGOvAq1bY+wp1J/gb8epCt/L/dkIBIXSepHeW3B69Guj4VDH2m0FnCfQEIwBmxOrf6va3wMz+FpHaEC3YaQIvWgWJ3QFs3T7Ma/eBrhrVTTc0Tn+D8Fd309jdrc4tacn244T7EJRh+JE3ry+rbzgkn1FDozewZrfvA8a7G1P8A6zC7M4h5GFjaNmLq1TCMg0n/ANmg/PgCtnZjizNjO4zaXVthlgxmXC3kbXYSQh3nlrjp1JfDtWj0A+Sq0qU7AyoB9p9CfkDzW3FcS7q1ZvXElVS/hrkTOUKty0dTqYSAT9s+dd1Voptc0OmAuHZydpqNJbhxGM5F7E+J8QuN4bcWzj79huexfNu6ImXQFbh9HWcrPoPPxry9jrB1DvDgeBB9lt1Kpse2CLGY8dP35p1wG+lriWLsFlFrE2mKCRkbNAXLEaekPcaGk0XiB3SYMaA5HwJjxXt7Y9r9lDHfe05HO33W8B4hZuAcNuYnCnB4nNmw2JBtuDqM9slACdxLroejV2MotLSzTrrxXjCo+k7tZnFNrzFv35JV2Nst9OxNvEAm2lu6t1QCc2HvxlgbiJVhGvMawyhhEN3dea5w4mtiOqQ2eB4pA4w6Pfw7lmR09dbLkFsp1DALJBEggaVRkgtqix0KrUoubjpExcWnrRdM3Z8Yu1aa8rWb6mM2UBjNoBGb7QLoD72Feg9geQ4W/Y+VzseactPV4t4InZ3hl9cMVu3HBZbpZCEORhNm4bZjlJUyCPGda5XbNiIcTxXVs22dlTewC7rTO7LnOsrDhuwNtLrF3LoGCgDlInUTG/pJ86qNmafu66spM2p7Lst1/ad/zcRtVuXVG0Ztiuh6eINdVEYWAEAxv60yXJtE1KhfJE3gWE6mOJvzK18L7Ti56LWbw/u3hx5lG29lco2k/wAgrGgNCneG4vZaObKTsHBWfedDV21WOyKkabgmSLW1hEUUk1YLQmrBaSFMUIUxQhTFCF6KEIeIcqpYCSBp7ToPmRWXnurTRdctiUG7EktsOsuGttt1lkk7Cfjhtut1/lN17adBLnvM7LGgLoYE+izPdYE+sIC7VvCIM7jy0HjqsYiSI3jnqfBYBhG7o8p/2Yxp6xuZ9P0SD76uXMxjEf5eGUZcwudrH4ThH8fGSZzzWjEcNLC9LALFi2DvCoVB+cVyH6hSplm+58TK7m/TatZzqYzIHkBK1W8JbLXmLqFNppJIhUsqGOvhyNrPSs1dofTawHfbx/RUmimapaMyPKEDjGMtYa5dt65rWVCVkEhbUlQdyQQ1SpVu1qlh0k365L09o2Tsdmp1v9zFvH4KrwVrmIsuFPOoW4wOkm2wRsp1iOY+2PbUW7SH1pbZotzBn8Fbf9Pq7NibWviALTucCJHmPVdR2PZbuFstEZi5jwBdGA/+OvF+o7U90Cc3H8j2nzXbtGzNouDYya32H6S/gNu39U2IK5bjPdMk5RaVWFvNPrZrqmB1FddLamVi4HQ3nhA/C5adCps1N9Y2uI4YgZ9Jlc7xbC3cMqCSEeyR15glq20+zMAQPvV62yNl9GNCZ8pHst/UKzauzbU43kMjxcGnxgwj9n8VnXGW76hCiC3a0ksrki3zb7ohHgAfEkyawt20Btr35f1C8SrtRqbC9r7gtDh/yvfzKp2js27GGsGf6WyhiNBcW4M5J6ypA/RFc22bNUqbQGU9J9wB1uXsf/HdppbM1laoYF5PEtcT6qvZe6Lj4leUZrZ0cagPDKSDuonvCQf6nzqj7UGNm4LgeBxH+/BdlMtftTyJgtZHEYAD4n7BxdwWi3e+j4u1fW0HcJkhCpfvBcQrIBgMQ7r4mIry9mNQ1BMwHajQtNhO43WNnovZshoPIbrwMX68Ey4ZgLuJw4W6v1d3umLDQiUayWYSftA6b+WtfTVjRqNx09RHhovn6I2jZq7qVT+JnxnTgY/Kx2Ozxu21ZlNjE2XCBpm27AvbZgCJysWE69fj5VH6d2bnw+Zy4Tv3wbfteu76iXVm1qom9/C3hbrVO8T2Usves3mUAW1tgIvoki44uROoGZhoNxFdbKQbIC87anv2iqKr3Gffn8pguCVGuwPSzMfM2G5fiotD2CrWAxdblm57p5fn3lThuEWw7sEUXHS5ZLAakDmtz7FywfOsPF+tEM39XRVZLYUiFAuKwUHKMj24AjYhjHxqeEGQqFzvuOaRXrirOs5VEwCR9Q/NsPOutrpaDwH7UXCCRz/So94ZspG73EMkDS4ve+M+HTrT4c/W6XHksZxTMpYwOS1cMBm1Uy/QdFX40YpHkUoi3MIOLxGIR2VbdwiZkIY5uY+PjSNUNMJ4MV18KFcqunHD+1GKs6LeYr9l+dY8OaYHspQESV0PDPyiMkZ7ZX71lioH/LaVJpguGRQYOYXX8J/KWj73Lf5t0G00dJcSk1QVnDNYNJpyXV4PtXaYAsjqD6yjvE9uZOntFbFduqwaR0TvDYq3cE23Vx91gfwqwcDkpkEZrRlppKYpJr0UIhTFCEh49x1LEq41GUgRJObQEe/l9tctavDizcJXQyicLX6OdgHOMXsFztjiaO9yUJCKGcmY5ix8duRTG29SpV+0cb90TfgOiunbNjdQNNjRL3lojcXAz5HD5odzEuNVVQFtMCR1Nu0XaD4ZbiDwkaSKzRrOcx76mQ9zf4C7fqOxUaRpUKH31HQP+JOHz+477b7JnjcQuIv2Rn7q1dtt3gzBQEFpFJk6gtoBpOxrzK22vu1o/wBTPnb1ldOz/Tgxu0P+6O4AN8xNtQAeELBjeGjDjDYfMXNwgktoCw5UBA2Eunj6NcFSv/kVXPNmtsI3annA9V1fStmLKdesDLo/GngIWzhHCmh1zBrfLbaVD6XbuokbErcM/nDwive2is2q5pGYAPKR+/RfKbDTAq1C/QGMufsBbWUkOD71b2IuiDce9eUDmuFV7wMYJgLLjfcW202nn2d+EPqEfcIHuV9LtGGudn2ZhuyCd1wABbUk+vl0XaHF2cF3VyxbA7+xiJGU6hwrpr6sMRp4TXmbLtDjUedJj1ICts1GptYeKrvsIg+c+YnxS/svx5MHhrAvW7ut3SFBzWwmUka9GeqO2Z9eqwDKZ+Vr6pRJxVRk1rQ7gSbTwSGxavXLYTNzLem2rMZ7tEY3CB9gZbcxsSK6qWxknGBANstZ/C5Pr9ekKQ2dn3WkeoPO5T2/9IxGHuWXtq7ZYtvsLedRZeDMzCoF08Sele1VpOphppHvZfJ914WyVKTsTa04I01i7fWCgN2evEWn7zQXLD3kZfT+jqW1M65lfbQaVhzQauLFx/ChTBbTDMNso60Tu9wXO4N4o1vMO7t5VAtjPct3VE7hu8Q6zoB4UwAHE4j+YW8RDMIaI3aJjw/Ai1bCIV9BVLEqWhwVCzvysqiNoA0rmp7MxpeST3jPLorpdtL5YWgd0AeS0JhLXeTlQNcOmYAtLLnRiTrKurQfGatDQLflTNWq4gONhbTLULZadTITZw4UBf7VBezaD7Sv8aZjT8rEuOaG98ODlCyc2XNlGtxBdU6SfSEbUTBtPV0AGL9aK11mcQkDNmC8hOl22LitJCgcymiblEWXlw7uweDzEMQci8rWssRlJnMik66TWC4REpwZmFS1wy7yklZBRjmlubLkueXogRpQajeKeA6K9rgUeuBy21hVAH1Llk2g+HwrPaRknhnNQ/Z7D+uWOjiC2kXDJ0OvQa+VIVnARz9UzTBM9WV3s4OzJbu11kljGoETqY2o7Wo7I+SOzaM1ku9rMBaGly3p/ZgN/wDWDWuxrO/iVM7RQb/Iea23eOwYFt281EqZE6HrUg0q8hfkqrqS9QheoRCiKaSNhsU9szbdkP3WK7bbUITzA9ssQhBbLcjqRlcDwDpBHzpRuTlddwn8qbLGc3F20aLyQD48r/jWxUeFnC0rtuE/lDs3fstO3duM0edu5lP471sV94WOy3FdJg+N2LkRcVWPqPyPqYHK2/umqCo0rBYQmWWtrK+cdtHDulyeY3bkQdrWG5Fked03WnwWvC22rOLiY8B+19j9L+nzWpB3/bbiP/KqPw0AcL70G9xD/wBJfZlFuDasW8sFmRVLO5HszD/mHwmt7FTaxkB1i4STa05Lz6weNvc+rBcGuIAMw4tMeUiJgxzCJltBbps5bid7btAJC8pRBe22DHx2nzrb3Gq2oGg3gk6G4i/CD58lB1ZrNp2bG4NNNr4F5DwHgSNLx5Z3sp493xxNxhby8yBRM9AgIgbaE+U1KpRe4MgWjTmT+vBej9D+obPR2Y0nu7ziSZ4wDfLK+fhKYcTxV/FNaY5UYNmASdxlgZjJg5RoBu1T2H6Z2NQmqLbjy3czF1wbX9RdRmlsb5BsXb7nIxlGozCrw7EXbFm4qOcrOpJOrB0YuSDtJMk77DbSvXqbNiq/9MZjx1iPTTVeDQcWS6oc4mOEA+k+S9hOHBWuWmaQUcMASAeYXInwJB1n1RWKGzdnTDs5AEZ8+uK7do2kO2p7qciTI4R9vXBaDYW5Ytq4LCy0ICWgDlJjXxQ/rba1V2yU+3L9SOGYNvPfrKxQ2+rSoFjLAn8EeknxCPiGEWtFkLABC6GengDyH31SlRptkDw68littFaoZeZJueY/UgbltGKjEHRsssY1ACspnfwD/smkGM7IW669ki55qG/XQU4a+0XNM0oRqZ1zAzpPr2/2qHYREC89eoWWyZk26/BWvhbPEKsqGB0UxEEHciZR/wBmlVcAeutUU2mOutExsYW6RBJ8CSQDqhRiIU6SqNv41A1G71YMK0Pw9mBkgSGgcxgtlcHViNHBO3WsdqJWuzKOmCVTOcjmB0hfRud4voxtJHvpdtaIT7K8qzizb5mIEQAWMxBYqJP5zD2VntCbJ4AsLdpsFbAAu24UADKQ0BdhyztrVBSrOyaVM1aLc3DzQr3bKwtg30Vnti53XKIIbLmGjRAimNkql+AiDmsHa6Ip9oDIysEkxP5S/wCzsE+bMF+QDfjXU36a/wDk4deS5XfVaY+1pPp8q2F7ZX72HxLoFW5ZCMBqQUZiHnbURNZdsTWVGtcZBWmbe6pTe5rYLfHnuXLYntdi33vEeQCD5xPzrtGwURpPivPd9R2g5EDkPmVo7KcbufSkW9cd0uZrbBnYjnEDQmBzZR76ntOzsFI4AARdU2PaqhrDG6QbJFjsKbVx7caq7L4TlJE+/euum4OaCNVxVmFry06FZmBrRWAuy4T2sW3ZRLmcsq5dJiF0X5RXk1dlcXktyXuUNsaKYDs18VNn5VyYl6WFUa1TxJFqr3dOUsKqVolZhRFNKFEUIXooSURTQmOD45iLWiXWj7Lc6x4ZWkUoCcldLwj8pGItRIOmnIxAA0n6tsyTp4CgSMigwcwnrdtMNilC3mEicgde7yZtYDIGXLMmDA1Psrmfs7XPxunKF6Gz/UatEEUzExM3mN8/2uh4dZtOgNi1KhSMwAuAjK4ylrcggzJBGpJ0FdA7JzezdlbTdF+YuvPPaCqa4PeOZnq2VuCthwugWYzpt4rLEx0IJLbjUj3dLC0NOCMjxz68yoPBc6X3Mjhl1fgpcgNbGp0ckaeBG28aBT7619wd4dfCyBhI8VGEDN3MLMZmMA6cxIGoGx5h5AUPc1uLTL2z61KGNccOuf8AXt5Ly8OvPbA7s6uWgwscoHU9dAfYaDtDGvmdPz45fhAoOcyCNfx+fyt1vgd4vcblAYECSZA6eiOkD4mof5LcDRe3Xx5K3YOxE7+vnzRcP2cITK91fSzaCegBHMfug/HxpP2sF0tGkdenkhuzHDBPXU+a2XuH2AAXuGEWDzQoGwJ8PVHTYVEbQ+ICqaLSZKw3u0PDLblzeslpJJDhjJmdAT4kUsVUiNFrCwGVXinbzB4bu5DHvLS3kyoea3cJKnWIkqdDrRhe9KWNWLgv5TreJxVnD27Lr3r5cz5Rl0J2BM7eVBpECUhUaclznEfyr4qSqWrSEFgc2Z9VJBiMvhVW7PImVh1eCRC29ku2GJxaYwXXAa3Y7y3lEZSrDNvM6eNUZQZibOpAUqld2F2G1ifJLr3Fb7eleuHyzsB8AYr2G7LRbk0LwnbZXdm8+3smXC+fAYxTqUezdHjJJRj8IqVRoZXYRaZCtTcX7NUBvEFIYrsXnroeBjPg8ba8Ft3l8sjEOfhFcdfu1qbuY8137McVCozhPkufy11rglP+xZ+uZCDkvWblpj0ErIJP6Me+uPbPsDhmCCu/6feoWnIghL04VeJP1Te8QPcW3qh2ikP5BSGy1iftKuvCLykE5UIMgl10I1B0JqTtqpG0z4KzNirgzEeKZccwq3Lne50UOoPjJAAOWNxEa1z0Kxa3DhJhdW07OHvxlwEpYcNZG90n2W2HzOlWNaocmeq5uwoj7qnkCoy2P77426zjrbgqBmzj+TlylnApkkyPn+FfOuqOxQF9SKbYR7fC7TEb7HYg7eM7Vk1nha7JpSzEYIG5C6CY/wBTV21DhkqTqYxWWj+SVGhEn27zU+3cclvsW6rPjuEZVJgg68u4HgJ9nnVKe0YjCm+iAJWBeGuRIEif86sazQYKl2LiJCz3cMy+kCPdWw8HIqZpkZoRWtysQoihEKKElFNKEbC4l7bZrbsjfaVip+IpEA5oC6ThHb/GWAQTbvKdct62H18c4h/2qzgC1iK6/B9v1yJdbDm3LMgRHzh+VST9ZzIAW2DH0qxgc4xKeNrBJC38T7eNbw1q+loHvLjoFLRAthSTMa6tEeW9IUO9BR24iYWHgfbvEYhr4YIi28LdurlDZsyZcsnNqJbaBWjRAi6z2xIJAyC5jiHbXGmfr2HkFQD45Z+dWFFgUm16hKb9sVvveuG3duZbduwDbDsAxayrXCADGbUHbWpswjRUe505pV2ZWcJxIzINi1qev1y/OqmMTeawCcJXLnp76sorpe2sZOHt48Psj9Vn/jUaevNWqDJZuxVm4MdhXW25UYi0SwViApcAkkCAIJ1p1DYrLBdbeJ9lMY+IvG3h7hXv70MQFBU3GykFiJBHWhlRoaJKb6bi42T78n/ZvEWb14XwiC7hb1rL3ttnllBByoSYGUnyrJrCBG8FMUjeRwR8NwZIh8VZkb5A9zTx5Vr0m7cTYMJ9F5DtgAuXgDzT7gGCsqMQguvcz2GkBMmikNK5iebeAfGoV61R2F2GIO+V0bNQpNxND5kbo90pjCLtavP+fcVf8AqxftB1A8D+Vzinso0ceZH4TDgGOtC73a2Ft96r2ycz3JBUtlbNpBy7Vz1xUwy50xwAXTsppY8LWRNsyUtfjboSqpaQgkHJaA1HtBqwoh1y5x8VD/Jcywa0cgqLx29mUu7EBgSIABAOogAaRTOzU4sEhtdWRLreCvxwlbzqWYiZGrEQwmB5ake6s0Q0sFh5Le0l4qESY5pWb6jy90VaYXNhm6aPfFzCkgEm023XK2p+Z/ZrnBw1ea7C3HQ/4lI2uudk+NXk7lyYRvSnFcdFtyjbjeNp+FRdXDTC6WbIXNkLnrXFro6g+1VPzia8w0GFe0K7xqtdntC4mUUz4SPxmpHZW6FUG1OGYV8NxpAwLIRr0IPyNJ+zuIgFbbtLZuE1TjdhjOfKYiCp676gEVznZ6gGSsNopnVExWItuOW4hmPWEz7BWWMc03BWy9rhYpjaw6qqDQmCxIjc9JG3vqLiSSVQCBCXcetAqumsgbACBOoj2iq7OSCp1RIXPvhRNdoeVzFiHcwZE1oVFg01newfCthymWILpFbBWCFAFCEa1apSmAuou4F4tKFlVtjUkDmuEs258Cg91FPIlTqgkwEbjVhmw+Gt57a5O+Y53UA53EREzovTatTclZDbAKOz2ECLiGN62c2Ha2chZ8ouOmpgbcsaUOIRFisOJweHAlrzkD7Fo/8AU1PGFlrIOaf8fxdu1iHdxipYICEa2ts5baARIJ2if/FTBsqGCVs4Ffwr4bHvbsadyrXFa6/1gVwdSoGXYmR1rLnOBC02INly54+i6JgsGv51trh/WZ9fbVLnVZkDILqu0fGcRbwOBxFlkth7QVlW3b0MuRkzKcqwCIHjUhd5BWi6IhcxgO1mLbEWc+Iukd9bkBsqkZ1kELAIjpW8ASxFF/KDdZcdiVzsw75jlJYhQwDACdI12FJg7qHziXvyaXQvFcNsJZ1/XtOv7xWnZFJuia9rfqMZcFsRqGAA0EgSIHTerbO+WA6rhqsEkJx2P4hN+0TpnzIR+crADX3V1VyHUSVDZgW1wOskiu49FJVrigqSpEjNIMGfCrdqw6qPYVAYgrRwnjKh0hLsLdUlshyBZhiT4ROtRqODhEHyVqTCxwMjzTDjyOMQ4VBBaZJ6HwrdJ5LAs12NDysIwrndo8gP36Vu+9RtoE04rgxcWy5knuwh1iSh3PmZNQYAHELqqkljXcI8lgXAIPV+JJ/E1WyhdN+EAapoAwI8vI/DNUq1oI0XRs9yWnUJXctwSDuDFWBXKW3XzbitkpeuKejH3g6g/AivOeIcQvZpuxNBQbdskgVgmBKqBJVriAkwIHSgTF0HOysmEJ2BpylC3WuBMRqwHun47VjHuWsO9Ffstd6Mh26kGTHiPMVoSdFgkBZsRwzEWdwQNdVceqMzbHoKC0HMJtqHQoH8qXtJuMY2zQ341PsaegVRWqb0ReLP1Cn3f6HWkaDVobQ5NOHMbpJZQB18NZB3Glc9QBlgV003F9yFo+hEyRqPPw6THWsY4W8MpPxS2Ayjyn/XwrpokkErlrAAgLGqiqqS3cNsZ7iL4sB8TvWSmgcZuZr9xvFz7h0FbaIClM3TrGD6ix4raUg9QSWb+FJynPfV+D4z6nEswHoW5YAAkFzOggE6Gs4YFlQpZiFLqchV99Byvt9g7+4mkHRnZGFdZ28vqHQHrn9m1sU6ZEuU3NJdIQuxLKljiTLBX6MDHvOlKqMuaowmLrk8eqhyE9ENy+QKgx7iSK2yYukV2faAzwPBHwkfB3Wsf93wQcgvn+cgyDqII9o1FWSXWflQT/3PE+Dd0w9htJWKf2rT/uSrspeyY/CvO2Isz7C6hvkTWyshfR+3VtfpTEgGVGvsJpUJwxxXLXgPSPgd1beItsQPTXWBK8wOh6DpXUIgjeFztcQ4cwmmPQC9eAG1xp8pOYfIir0nSwKdZmGo4cfe6GlvMtxY9JCPkR++m4yFloAKacRh1S51a2p+NSougQr7Q2SDvCwCKqSoBq22PrLJAIOV5GvujT2k1EnvyukCaRG4rPew5UST+NUxKMKmGeDPhr7ay64haZ3XApd2h4vZs3Yc6sobZtZkTp5g1NtUAQSrVKDi4kBcxjOI4d3LRvHqjoAOreVZc5hMqrGVGiEktXAAWA+6NdTO/wAq5HXIC7RYEp7g+G29ZMdOg1MAfPN8K0ViUwQWl9EA6Ejc7mEEeyJ9tFkrrXbubBUMaDoJW1vv94kU5SKh8SRq0CJc+sYGigjTx/ZrQlYskXGOJj0TmnumG2WHuEFyZ1I0+dLgtgajqFzQFJbWnCWZExWHu0VKbdV23ZnhQa3mJIljsNdPaPbXm7RUh0LvpN7q34zh6BdM3h5zGsePWpB5JVMIXLdo0RZy7gW1k7g5WZv8Q+Fejs0lknevO2oxUslPDVBW4WEwoiehLAT8JrohQLjCPwgEYhDPrHTyynSnASDild95Zj4k0IGS6HiTQiL9m2g+CA/vpFT/AJqML/st/wAzbHzY1lUWLiHDzavG2dQHCzBjmAIHtg0mODwCmn/brFjvVBAYc8zvuo0I1G1YaO8UDMoPZO+Fw/EfvYcCPIk9a28G3NPeuZDCdm8fSH4x+6qBZK7jHtPA8Pps9zQn+/bqPbUT/wDqEzkFwrP91fi//dViOKS7H8ptz/1YYAc+Fsv6IJ1WNz7KxT1TfouVtYko9t9OVlbQKDykHoPKqWWQDmvrXbK5munzH8D++lRC5tp+4rmrGFa5baOgzHxGUAfDX5VcmFzQmvFXCYhnb0bioxJ2BygT8qdN+GyrXaCZ4LnOKcZvWsQUTLl0jlk8wnx8a06o6YQ2mzBOq28QxF98FYZO8DA3EcIpnfkMKNBA+dSkqxaCAubbh2Kfe1fb84P/ANVIyVQADJdb2OtXbNm4lxcksSsxuVUePiDTBgLBaS47iEzuO7T4eHKarjCh2L9yzvdK9Af0gsfL/UVk1AtDZ3JFx/h5v27RL2w1uVZmYhSPVGbLvABj7xqJhdQBAhI/5EHW/h//AOn+VFkQ5KbrQAPDU+01Mb1U7kazjiOgOkeexE6+2tLKdYPimsiYBnKfugBR8daEoV8dxgBWUETkC7ayxlzp7j7qAEoSPGY93YsW6RpIB90+2mmBCzt5+H461lbhQw0oGaDYJnhVhR/rU71B5uuhggL6L2fw4S0msaKZEEzAYjp4x8a8uq6XFdzRDQEPiV7QL5yPHc+P4T0pNC0V8/43dz3H/wCI/XosIvyUV7FFuGmBwXk1u9UJWfCiEYbEsvwUH+NUUyDCvgJDSY0Vo1G5BA/GhLCsf0Qn1k/WFNOE44kQzEZ0EQILQdABt7qSzhOIlEwoAskM6QbqGZ0hRqJ8d6RFlqE4ucUsOb4zqTeuIydYKqiifAyDt41BtFwLTOSISrj5tXLrZrwUhmEZGaNddq6A26QESp4UlpbOJi9mDIoYi2wygtAMH0tTTITS+3ZwgMteuH2W4/E0EJtIm667EY7CDhtm2/fm073cpUJ3krcDmQTAE7eVSwuL5CZw5lc/33DPsYxva1ofgapD+CzLF0Xa/H4TNhWuYZ7pfBWWQ981uLZzZVbKDLCDJ86ywOMwtPLQASuePG8GBpw5f0sRcf8AFa3gdvWQ5uUeq7DtNxoqUItW2DYe1dBeTGdTp7oj30U2GCZ1Uqrm4gC2bLmz2rIAK27AnfKmvifW8arHFTAzho8lu45x64lnDXbbJDocw09QwQk+EjSsxBVASQLLn7vanFHa7HsS34/m0LUpjhOL3rmCxDd43e27iNmEBsjwsaDbRjRCYJSPEcYvmD310SNQLjwCD0E+EfGiEpTTs32iNtst0u+Z1hixOWeUzm6VoG0LBaS4OlPOJcWsW7ro5ysDtlPrAMIgeYrYeIUX0XEylHai4tywrIwKhwTHgQQCffSeZCKLcLiEv4A3eWcRY8V7xB95Y/EhPnUl1apKHXwosiCqm55CsQtypW75UIlWW7rO3sp3RZEYqxku3vE7e+sy7cnDd68wURBB+I+VAJ1CIG9UZh7PnQmvBcxVR1NGV0ZkBO8NbLMq9SwA95jxrlcYBK62i8Lv7OJCAAMBoR79B5zIrzCLrsSXiGLUHyXXbU6yZ/CrNaTZZJi6+fYppI8con2tLfvr2QF45uV5/wCjXzZj+AH76EK2FMLcP3I/WYChCHh1llHiw/GhCLxBpu3D99vkdKaEdv8AZh53ifggFCEPh2t23+en+IUkL3En+vu/8R/8RpoWrh5mxiY+za/+wUISoihJdDjW/wDbsN5Xrw+NIfcmftSGqqa6rtiZw/DX/wD1Mv6jR++o0zDiqPu0LlpqqnC6rthdJw/D3BMNhAhjb6ox++psNyFt4BAK5ItWyUgE+xbhuHWD1t33T9cF/wCFZm6NEkLjStJJ32VfN9Itf2lho/OX0f8AEaSYzSLPRKUKwUnYH4GtJSE97To1zubwUzctDNAOjLvP60e6ktaJL3VyIyvB3ENBjbSkktfBi9u8jZWAmDodm0J90z7qSZVOJ4FluuFRiuaRCkiDqB7pj3U0yl9JNa8NgwyyWI90/vHnWSUiVkrSakRSQrgieu3+VCamfCktK+HWX9gmsuPdTaO8ug4MgN9J2mTGh29lclYwwrrpCXLp7dtMuUKJIMk67EjTw61wyV1QknHb2Vbs/ZIHsOi/j8q6KDZcOajWMMK45rgJkj5+GleovMUm6CACNttaaFZbwAIy6GJ1PTUUkKbd5QQQmoIPpHcUIVmxCEkm3JJn0j1oRZF+mplCG1ygkjnO536UJ2U2MbbVgws6ggj6xtwZHShJEv4q0SWaxJYkn6xtydelAKFNriVpVZRY0eM31ja5TI6aa00Kn06z/wDj/wDyt/CnKUJhb4/a7tbTYVWRWLAG42jNudprBBmVoREKRxzDD/cLXvuOfxFLvb0d3d6rTf7YI6IjYKyVtghASSFDGSBp40sJzlOREQs57S2umBw36s04O9EjcpxHa4sqp9FwuRJyKbZIXMZbKJ0k60BpmZRiGULL/OM9MPhR7LUf9VbvvWCAdFP857kQLdkCZjIYnxjNvRKICj+c13olofof505KIC9/Oe90yD2L/nSlEBe/nRiPtL+qKJRAVW7TYk/1n7K/wolNCPaHEf2n7Cf9tCFU8ev/ANp+yn/bQkoPG7/2/wBlP4UJqP5Xvfb/AGV/7aEL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pic>
        <p:nvPicPr>
          <p:cNvPr id="1028" name="Picture 4" descr="http://1.bp.blogspot.com/-sVNSyS1mO6Q/VCV4lRej0CI/AAAAAAAAGNw/HxkZxE0wPUI/s1600/EilonPaz_095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9628" y="3629159"/>
            <a:ext cx="3306788" cy="22045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1.staticflickr.com/3/2594/4190132034_b690c7545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629159"/>
            <a:ext cx="1659246" cy="2218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3573016"/>
            <a:ext cx="3032515" cy="2274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4962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9D7E36-C855-46C3-ABD3-732049EBE803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6738"/>
            <a:ext cx="9144000" cy="6464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11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318782" y="620688"/>
            <a:ext cx="4752528" cy="792237"/>
          </a:xfrm>
        </p:spPr>
        <p:txBody>
          <a:bodyPr/>
          <a:lstStyle/>
          <a:p>
            <a:pPr marL="0" indent="0" algn="ctr">
              <a:buNone/>
            </a:pPr>
            <a:r>
              <a:rPr lang="en-US" sz="4000" b="1" dirty="0">
                <a:solidFill>
                  <a:srgbClr val="1B5BA2"/>
                </a:solidFill>
                <a:ea typeface="+mj-ea"/>
              </a:rPr>
              <a:t>And Children? 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92" y="764704"/>
            <a:ext cx="3970250" cy="26458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420888"/>
            <a:ext cx="4499310" cy="29992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43" y="3717032"/>
            <a:ext cx="4168733" cy="2774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69639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671" y="1916832"/>
            <a:ext cx="6264696" cy="4400550"/>
          </a:xfrm>
        </p:spPr>
        <p:txBody>
          <a:bodyPr>
            <a:normAutofit/>
          </a:bodyPr>
          <a:lstStyle/>
          <a:p>
            <a:pPr algn="just"/>
            <a:r>
              <a:rPr lang="en-US" sz="2000" kern="1200" dirty="0" smtClean="0">
                <a:solidFill>
                  <a:schemeClr val="tx2"/>
                </a:solidFill>
              </a:rPr>
              <a:t>Thanks to ICTs, education </a:t>
            </a:r>
            <a:r>
              <a:rPr lang="en-US" sz="2000" kern="1200" dirty="0">
                <a:solidFill>
                  <a:schemeClr val="tx2"/>
                </a:solidFill>
              </a:rPr>
              <a:t>is being transformed and children access vast amounts of information, access to courses and teachers </a:t>
            </a:r>
            <a:r>
              <a:rPr lang="en-US" sz="2000" kern="1200" dirty="0" smtClean="0">
                <a:solidFill>
                  <a:schemeClr val="tx2"/>
                </a:solidFill>
              </a:rPr>
              <a:t>anywhere; </a:t>
            </a:r>
            <a:endParaRPr lang="en-US" sz="2000" kern="1200" dirty="0">
              <a:solidFill>
                <a:schemeClr val="tx2"/>
              </a:solidFill>
            </a:endParaRPr>
          </a:p>
          <a:p>
            <a:pPr algn="just"/>
            <a:r>
              <a:rPr lang="en-US" sz="2000" kern="1200" dirty="0">
                <a:solidFill>
                  <a:schemeClr val="tx2"/>
                </a:solidFill>
              </a:rPr>
              <a:t>And even talk to the astronauts </a:t>
            </a:r>
            <a:r>
              <a:rPr lang="en-US" sz="2000" kern="1200" dirty="0" smtClean="0">
                <a:solidFill>
                  <a:schemeClr val="tx2"/>
                </a:solidFill>
              </a:rPr>
              <a:t>about </a:t>
            </a:r>
            <a:r>
              <a:rPr lang="en-US" sz="2000" kern="1200" dirty="0">
                <a:solidFill>
                  <a:schemeClr val="tx2"/>
                </a:solidFill>
              </a:rPr>
              <a:t>space millions of miles </a:t>
            </a:r>
            <a:r>
              <a:rPr lang="en-US" sz="2000" kern="1200" dirty="0" smtClean="0">
                <a:solidFill>
                  <a:schemeClr val="tx2"/>
                </a:solidFill>
              </a:rPr>
              <a:t>away;</a:t>
            </a:r>
            <a:endParaRPr lang="en-US" sz="2000" kern="1200" dirty="0">
              <a:solidFill>
                <a:schemeClr val="tx2"/>
              </a:solidFill>
            </a:endParaRPr>
          </a:p>
          <a:p>
            <a:pPr algn="just"/>
            <a:r>
              <a:rPr lang="en-US" sz="2000" kern="1200" dirty="0">
                <a:solidFill>
                  <a:schemeClr val="tx2"/>
                </a:solidFill>
              </a:rPr>
              <a:t>Social networks, gamification, </a:t>
            </a:r>
            <a:r>
              <a:rPr lang="en-US" sz="2000" kern="1200" dirty="0" smtClean="0">
                <a:solidFill>
                  <a:schemeClr val="tx2"/>
                </a:solidFill>
              </a:rPr>
              <a:t>apps…</a:t>
            </a:r>
            <a:r>
              <a:rPr lang="en-US" sz="2000" kern="1200" dirty="0">
                <a:solidFill>
                  <a:schemeClr val="tx2"/>
                </a:solidFill>
              </a:rPr>
              <a:t> </a:t>
            </a:r>
            <a:r>
              <a:rPr lang="en-US" sz="2000" kern="1200" dirty="0" smtClean="0">
                <a:solidFill>
                  <a:schemeClr val="tx2"/>
                </a:solidFill>
              </a:rPr>
              <a:t>All  part of </a:t>
            </a:r>
            <a:r>
              <a:rPr lang="en-US" sz="2000" kern="1200" dirty="0">
                <a:solidFill>
                  <a:schemeClr val="tx2"/>
                </a:solidFill>
              </a:rPr>
              <a:t>a world in which they are not  </a:t>
            </a:r>
            <a:r>
              <a:rPr lang="en-US" sz="2000" kern="1200" dirty="0" smtClean="0">
                <a:solidFill>
                  <a:schemeClr val="tx2"/>
                </a:solidFill>
              </a:rPr>
              <a:t>merely </a:t>
            </a:r>
            <a:r>
              <a:rPr lang="en-US" sz="2000" kern="1200" dirty="0">
                <a:solidFill>
                  <a:schemeClr val="tx2"/>
                </a:solidFill>
              </a:rPr>
              <a:t>participants but create, share, </a:t>
            </a:r>
            <a:r>
              <a:rPr lang="en-US" sz="2000" kern="1200" dirty="0" smtClean="0">
                <a:solidFill>
                  <a:schemeClr val="tx2"/>
                </a:solidFill>
              </a:rPr>
              <a:t>collaborate; </a:t>
            </a:r>
          </a:p>
          <a:p>
            <a:pPr algn="just"/>
            <a:r>
              <a:rPr lang="en-US" sz="2000" kern="1200" dirty="0" smtClean="0">
                <a:solidFill>
                  <a:schemeClr val="tx2"/>
                </a:solidFill>
              </a:rPr>
              <a:t>Every day there is a new innovation with vast opportunities. </a:t>
            </a:r>
          </a:p>
          <a:p>
            <a:pPr marL="0" indent="0" algn="just">
              <a:buNone/>
            </a:pPr>
            <a:endParaRPr lang="en-US" sz="3600" dirty="0"/>
          </a:p>
        </p:txBody>
      </p:sp>
      <p:pic>
        <p:nvPicPr>
          <p:cNvPr id="7" name="Content Placeholder 4"/>
          <p:cNvPicPr>
            <a:picLocks noGrp="1"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564904"/>
            <a:ext cx="2663011" cy="2651174"/>
          </a:xfrm>
          <a:prstGeom prst="rect">
            <a:avLst/>
          </a:prstGeom>
          <a:noFill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686909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323528" y="417465"/>
            <a:ext cx="5910262" cy="710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spAutoFit/>
          </a:bodyPr>
          <a:lstStyle/>
          <a:p>
            <a: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it-IT" sz="4000" b="1" dirty="0">
                <a:solidFill>
                  <a:srgbClr val="1B5BA2"/>
                </a:solidFill>
                <a:ea typeface="+mj-ea"/>
              </a:rPr>
              <a:t>ITU and Cybersecurity</a:t>
            </a:r>
          </a:p>
        </p:txBody>
      </p:sp>
      <p:sp>
        <p:nvSpPr>
          <p:cNvPr id="3" name="Content Placeholder 1"/>
          <p:cNvSpPr txBox="1">
            <a:spLocks/>
          </p:cNvSpPr>
          <p:nvPr/>
        </p:nvSpPr>
        <p:spPr bwMode="auto">
          <a:xfrm>
            <a:off x="4051572" y="1845491"/>
            <a:ext cx="4656182" cy="9683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/>
          <a:lstStyle/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003 – 2005</a:t>
            </a:r>
            <a:endParaRPr lang="en-US" sz="1200" b="0" kern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SIS entrusted ITU as sole facilitator for WSIS Action Line C5</a:t>
            </a:r>
          </a:p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“Building Confidence and Security in the use of </a:t>
            </a:r>
            <a:r>
              <a:rPr lang="en-US" sz="1200" b="0" kern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CTs”</a:t>
            </a:r>
            <a:endParaRPr lang="en-US" sz="1200" b="0" kern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3000" y="1808955"/>
            <a:ext cx="3345954" cy="985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ounded Rectangle 4"/>
          <p:cNvSpPr/>
          <p:nvPr/>
        </p:nvSpPr>
        <p:spPr>
          <a:xfrm>
            <a:off x="170212" y="1556792"/>
            <a:ext cx="8746293" cy="1452313"/>
          </a:xfrm>
          <a:prstGeom prst="roundRect">
            <a:avLst/>
          </a:prstGeom>
          <a:grpFill/>
          <a:ln>
            <a:solidFill>
              <a:srgbClr val="66CCFF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970" tIns="13970" rIns="13970" bIns="13970" numCol="1" spcCol="1270" rtlCol="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 kern="1200" dirty="0" smtClean="0"/>
          </a:p>
        </p:txBody>
      </p:sp>
      <p:sp>
        <p:nvSpPr>
          <p:cNvPr id="6" name="Content Placeholder 1"/>
          <p:cNvSpPr txBox="1">
            <a:spLocks/>
          </p:cNvSpPr>
          <p:nvPr/>
        </p:nvSpPr>
        <p:spPr bwMode="auto">
          <a:xfrm>
            <a:off x="4057922" y="3739628"/>
            <a:ext cx="4649831" cy="1103766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/>
          <a:lstStyle/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007</a:t>
            </a:r>
          </a:p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TU Secretary-General launched the Global Cybersecurity Agenda (GCA) </a:t>
            </a:r>
          </a:p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 framework for international cooperation in </a:t>
            </a:r>
            <a:r>
              <a:rPr lang="en-US" sz="1200" b="0" kern="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ybersecurity</a:t>
            </a:r>
            <a:endParaRPr lang="en-US" sz="1200" b="0" kern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7" name="Straight Arrow Connector 13"/>
          <p:cNvCxnSpPr>
            <a:cxnSpLocks noChangeShapeType="1"/>
            <a:stCxn id="3" idx="2"/>
            <a:endCxn id="6" idx="0"/>
          </p:cNvCxnSpPr>
          <p:nvPr/>
        </p:nvCxnSpPr>
        <p:spPr bwMode="auto">
          <a:xfrm>
            <a:off x="6379663" y="2813820"/>
            <a:ext cx="3175" cy="925808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arrow" w="med" len="med"/>
          </a:ln>
        </p:spPr>
      </p:cxnSp>
      <p:cxnSp>
        <p:nvCxnSpPr>
          <p:cNvPr id="8" name="Straight Arrow Connector 15"/>
          <p:cNvCxnSpPr>
            <a:cxnSpLocks noChangeShapeType="1"/>
            <a:stCxn id="6" idx="2"/>
            <a:endCxn id="12" idx="0"/>
          </p:cNvCxnSpPr>
          <p:nvPr/>
        </p:nvCxnSpPr>
        <p:spPr bwMode="auto">
          <a:xfrm>
            <a:off x="6382838" y="4843394"/>
            <a:ext cx="0" cy="766807"/>
          </a:xfrm>
          <a:prstGeom prst="straightConnector1">
            <a:avLst/>
          </a:prstGeom>
          <a:noFill/>
          <a:ln w="19050" algn="ctr">
            <a:solidFill>
              <a:schemeClr val="tx2"/>
            </a:solidFill>
            <a:round/>
            <a:headEnd/>
            <a:tailEnd type="arrow" w="med" len="med"/>
          </a:ln>
        </p:spPr>
      </p:cxnSp>
      <p:pic>
        <p:nvPicPr>
          <p:cNvPr id="9" name="Picture 8" descr="pillar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4673" y="3135294"/>
            <a:ext cx="2433191" cy="21034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ounded Rectangle 9"/>
          <p:cNvSpPr/>
          <p:nvPr/>
        </p:nvSpPr>
        <p:spPr>
          <a:xfrm>
            <a:off x="181247" y="3127216"/>
            <a:ext cx="8735258" cy="2145438"/>
          </a:xfrm>
          <a:prstGeom prst="roundRect">
            <a:avLst/>
          </a:prstGeom>
          <a:grpFill/>
          <a:ln>
            <a:solidFill>
              <a:srgbClr val="66CCFF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970" tIns="13970" rIns="13970" bIns="13970" numCol="1" spcCol="1270" rtlCol="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 kern="1200" dirty="0" smtClean="0"/>
          </a:p>
        </p:txBody>
      </p:sp>
      <p:pic>
        <p:nvPicPr>
          <p:cNvPr id="11" name="Picture 6" descr="gca-banner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0862" y="5580037"/>
            <a:ext cx="3321554" cy="52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Content Placeholder 1"/>
          <p:cNvSpPr txBox="1">
            <a:spLocks/>
          </p:cNvSpPr>
          <p:nvPr/>
        </p:nvSpPr>
        <p:spPr bwMode="auto">
          <a:xfrm>
            <a:off x="4057922" y="5610201"/>
            <a:ext cx="4649832" cy="1262769"/>
          </a:xfrm>
          <a:prstGeom prst="rect">
            <a:avLst/>
          </a:prstGeom>
          <a:solidFill>
            <a:schemeClr val="bg1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/>
          <a:lstStyle/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2008 - 2010</a:t>
            </a:r>
          </a:p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endParaRPr lang="en-US" sz="1200" b="0" kern="0" dirty="0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  <a:p>
            <a:pPr marL="3175" indent="-3175" algn="ctr" eaLnBrk="0" hangingPunct="0">
              <a:spcBef>
                <a:spcPct val="20000"/>
              </a:spcBef>
              <a:buClr>
                <a:srgbClr val="0E438A"/>
              </a:buClr>
              <a:buSzPct val="110000"/>
              <a:defRPr/>
            </a:pPr>
            <a:r>
              <a:rPr lang="en-US" sz="1200" b="0" kern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TU </a:t>
            </a: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embership endorsed the GCA as the ITU-wide strategy on international </a:t>
            </a:r>
            <a:r>
              <a:rPr lang="en-US" sz="1200" b="0" kern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ooperation</a:t>
            </a:r>
            <a:r>
              <a:rPr lang="en-US" sz="1200" b="0" kern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.</a:t>
            </a:r>
          </a:p>
        </p:txBody>
      </p:sp>
      <p:pic>
        <p:nvPicPr>
          <p:cNvPr id="13" name="Picture 4" descr="http://groups.itu.int/Portals/32/images/banners/banner-childonlineprotection.JPG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91566" y="6281714"/>
            <a:ext cx="1727200" cy="308036"/>
          </a:xfrm>
          <a:prstGeom prst="rect">
            <a:avLst/>
          </a:prstGeom>
          <a:noFill/>
        </p:spPr>
      </p:pic>
      <p:pic>
        <p:nvPicPr>
          <p:cNvPr id="14" name="Picture 6" descr="http://groups.itu.int/Portals/32/images/banners/banner-impact.JP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0891" y="6219800"/>
            <a:ext cx="1546225" cy="459451"/>
          </a:xfrm>
          <a:prstGeom prst="rect">
            <a:avLst/>
          </a:prstGeom>
          <a:noFill/>
        </p:spPr>
      </p:pic>
      <p:sp>
        <p:nvSpPr>
          <p:cNvPr id="15" name="Rounded Rectangle 14"/>
          <p:cNvSpPr/>
          <p:nvPr/>
        </p:nvSpPr>
        <p:spPr>
          <a:xfrm>
            <a:off x="230503" y="5416503"/>
            <a:ext cx="8686001" cy="1718347"/>
          </a:xfrm>
          <a:prstGeom prst="roundRect">
            <a:avLst/>
          </a:prstGeom>
          <a:grpFill/>
          <a:ln>
            <a:solidFill>
              <a:srgbClr val="66CCFF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970" tIns="13970" rIns="13970" bIns="13970" numCol="1" spcCol="1270" rtlCol="0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050" kern="1200" dirty="0" smtClean="0"/>
          </a:p>
        </p:txBody>
      </p:sp>
    </p:spTree>
    <p:extLst>
      <p:ext uri="{BB962C8B-B14F-4D97-AF65-F5344CB8AC3E}">
        <p14:creationId xmlns:p14="http://schemas.microsoft.com/office/powerpoint/2010/main" val="611808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5"/>
          <p:cNvSpPr>
            <a:spLocks noChangeShapeType="1"/>
          </p:cNvSpPr>
          <p:nvPr/>
        </p:nvSpPr>
        <p:spPr bwMode="auto">
          <a:xfrm flipH="1">
            <a:off x="395288" y="6524625"/>
            <a:ext cx="8280400" cy="1588"/>
          </a:xfrm>
          <a:prstGeom prst="line">
            <a:avLst/>
          </a:prstGeom>
          <a:noFill/>
          <a:ln w="22225" cap="rnd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148620" y="1844824"/>
            <a:ext cx="8562752" cy="1539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</a:pP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The </a:t>
            </a:r>
            <a:r>
              <a:rPr lang="en-US" sz="24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COP Initiative </a:t>
            </a:r>
            <a:r>
              <a:rPr lang="en-US" sz="24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aims at bringing together partners from all sectors of the global community to ensure a safe and secure online experience for children everywhere.</a:t>
            </a:r>
            <a:endParaRPr lang="en-US" sz="2400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2" name="Rectangle 4"/>
          <p:cNvSpPr>
            <a:spLocks noChangeArrowheads="1"/>
          </p:cNvSpPr>
          <p:nvPr/>
        </p:nvSpPr>
        <p:spPr bwMode="auto">
          <a:xfrm>
            <a:off x="304801" y="3573016"/>
            <a:ext cx="8208912" cy="295232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/>
          <a:lstStyle/>
          <a:p>
            <a:pPr marL="450850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</a:pPr>
            <a:r>
              <a:rPr lang="en-US" sz="20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Objectives</a:t>
            </a:r>
          </a:p>
          <a:p>
            <a:pPr marL="450850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</a:pPr>
            <a:endParaRPr lang="en-US" sz="2000" b="1" dirty="0" smtClean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647700" lvl="1" indent="-285750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Identify risks and vulnerabilities to children in cyberspace;</a:t>
            </a:r>
          </a:p>
          <a:p>
            <a:pPr marL="647700" lvl="1" indent="-285750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Create awareness of the risks and issues through multiple channels;</a:t>
            </a:r>
          </a:p>
          <a:p>
            <a:pPr marL="647700" lvl="1" indent="-285750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Develop practical tools to help governments, organizations and educators minimize risk; and</a:t>
            </a:r>
          </a:p>
          <a:p>
            <a:pPr marL="647700" lvl="1" indent="-285750" eaLnBrk="0" hangingPunct="0">
              <a:spcBef>
                <a:spcPct val="20000"/>
              </a:spcBef>
              <a:buClr>
                <a:schemeClr val="bg2">
                  <a:lumMod val="50000"/>
                </a:schemeClr>
              </a:buClr>
              <a:buSzPct val="110000"/>
              <a:buFont typeface="Arial" pitchFamily="34" charset="0"/>
              <a:buChar char="•"/>
            </a:pPr>
            <a:r>
              <a:rPr lang="en-US" sz="2000" b="1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Share knowledge and experience while facilitating international strategic partnership to define and implement concrete initiatives </a:t>
            </a:r>
          </a:p>
          <a:p>
            <a:pPr marL="342900" indent="-342900" eaLnBrk="0" hangingPunct="0">
              <a:spcBef>
                <a:spcPct val="20000"/>
              </a:spcBef>
              <a:buClr>
                <a:schemeClr val="tx1"/>
              </a:buClr>
              <a:buSzPct val="110000"/>
              <a:buFont typeface="Wingdings" pitchFamily="2" charset="2"/>
              <a:buChar char="§"/>
            </a:pPr>
            <a:endParaRPr lang="en-US" sz="2000" b="1" dirty="0" smtClean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chemeClr val="tx1"/>
              </a:buClr>
              <a:buSzPct val="110000"/>
              <a:buFont typeface="Wingdings" pitchFamily="2" charset="2"/>
              <a:buChar char="§"/>
            </a:pPr>
            <a:endParaRPr lang="en-US" sz="2000" b="1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Clr>
                <a:schemeClr val="tx1"/>
              </a:buClr>
              <a:buSzPct val="110000"/>
            </a:pPr>
            <a:endParaRPr lang="en-US" sz="2000" b="1" dirty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07504" y="485963"/>
            <a:ext cx="8055108" cy="5869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>
            <a:spAutoFit/>
          </a:bodyPr>
          <a:lstStyle/>
          <a:p>
            <a:pPr defTabSz="449263" eaLnBrk="0" hangingPunct="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it-IT" sz="3200" b="1" dirty="0" smtClean="0">
                <a:solidFill>
                  <a:srgbClr val="1B5BA2"/>
                </a:solidFill>
                <a:ea typeface="+mj-ea"/>
              </a:rPr>
              <a:t>The Child Online Protection (COP) Initiative</a:t>
            </a:r>
            <a:endParaRPr lang="it-IT" sz="3200" b="1" dirty="0">
              <a:solidFill>
                <a:srgbClr val="1B5BA2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3655454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http://4.bp.blogspot.com/_-dB1taiAXCQ/SE-sou68S3I/AAAAAAAAEpg/oTmoeVO1rj0/s400/manos-unidas.jpg"/>
          <p:cNvPicPr>
            <a:picLocks noChangeAspect="1" noChangeArrowheads="1"/>
          </p:cNvPicPr>
          <p:nvPr/>
        </p:nvPicPr>
        <p:blipFill>
          <a:blip r:embed="rId2" cstate="print">
            <a:lum bright="20000" contrast="20000"/>
          </a:blip>
          <a:srcRect/>
          <a:stretch>
            <a:fillRect/>
          </a:stretch>
        </p:blipFill>
        <p:spPr bwMode="auto">
          <a:xfrm>
            <a:off x="2411760" y="2383720"/>
            <a:ext cx="4320480" cy="3225958"/>
          </a:xfrm>
          <a:prstGeom prst="rect">
            <a:avLst/>
          </a:prstGeom>
          <a:noFill/>
        </p:spPr>
      </p:pic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07504" y="548680"/>
            <a:ext cx="8786812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We count on the support of several </a:t>
            </a:r>
            <a:r>
              <a:rPr lang="en-US" sz="3200" b="1" kern="0" dirty="0" smtClean="0">
                <a:solidFill>
                  <a:srgbClr val="FF0000"/>
                </a:solidFill>
                <a:latin typeface="Calibri" pitchFamily="34" charset="0"/>
                <a:ea typeface="+mj-ea"/>
                <a:cs typeface="Calibri" pitchFamily="34" charset="0"/>
              </a:rPr>
              <a:t>partners</a:t>
            </a:r>
            <a:r>
              <a:rPr lang="en-US" sz="32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…</a:t>
            </a:r>
            <a:endParaRPr lang="en-US" sz="32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07504" y="3583469"/>
            <a:ext cx="216024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2400" b="1" kern="0" dirty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International </a:t>
            </a:r>
            <a:r>
              <a:rPr lang="en-US" sz="24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Organizations</a:t>
            </a:r>
            <a:endParaRPr lang="en-US" sz="24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auto">
          <a:xfrm>
            <a:off x="6877904" y="3790781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24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Private Sector</a:t>
            </a:r>
            <a:endParaRPr lang="en-US" sz="24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3491880" y="6021288"/>
            <a:ext cx="216024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ctr">
            <a:spAutoFit/>
          </a:bodyPr>
          <a:lstStyle/>
          <a:p>
            <a:pPr algn="ctr">
              <a:buClrTx/>
              <a:buFontTx/>
              <a:buNone/>
              <a:defRPr/>
            </a:pPr>
            <a:r>
              <a:rPr lang="en-US" sz="2400" b="1" kern="0" dirty="0" smtClean="0">
                <a:solidFill>
                  <a:srgbClr val="1B5BA2"/>
                </a:solidFill>
                <a:latin typeface="Calibri" pitchFamily="34" charset="0"/>
                <a:ea typeface="+mj-ea"/>
                <a:cs typeface="Calibri" pitchFamily="34" charset="0"/>
              </a:rPr>
              <a:t>Civil Society </a:t>
            </a:r>
            <a:endParaRPr lang="en-US" sz="2400" b="1" kern="0" dirty="0">
              <a:solidFill>
                <a:srgbClr val="1B5BA2"/>
              </a:solidFill>
              <a:latin typeface="Calibri" pitchFamily="34" charset="0"/>
              <a:ea typeface="+mj-ea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25080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GKjnaynUKpa3L29rZzD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1ClxeY_Eqzjrmqtdf5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PaFom_.0WBjclAp9L8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fNVjnyB0qJtNl8o0pj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8PvkNZjUudGOm03jYt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fNVjnyB0qJtNl8o0p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1ClxeY_Eqzjrmqtdf53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PaFom_.0WBjclAp9L8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PaFom_.0WBjclAp9L8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PaFom_.0WBjclAp9L8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PaFom_.0WBjclAp9L8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1adt8fqEGs8jrjkZRe5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fNVjnyB0qJtNl8o0pj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fNVjnyB0qJtNl8o0pj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..yVjhmEO0khHHr8SD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Jtl4DwpUOh.8iqvTn_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a0.WOxrkeXmgS4hYYk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n23o_ih0iEsDsujOH9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T_yUhcd06Hb5Ong1uh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oUG6RbskarzsmHvO8aR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v3314NlkufMhItJD4z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edian">
  <a:themeElements>
    <a:clrScheme name="ITU-15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498BC9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Upper-median">
  <a:themeElements>
    <a:clrScheme name="ITU-15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498BC9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edian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2240BEE36140C4099AA2AE462C59614" ma:contentTypeVersion="2" ma:contentTypeDescription="Create a new document." ma:contentTypeScope="" ma:versionID="e63c2246d32922dcb5ba18055bf4d5d1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f03cfa57e716973114bdf2422329f5c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BA9A0B1-5F54-45EF-A28F-0B2FAC4CADC9}"/>
</file>

<file path=customXml/itemProps2.xml><?xml version="1.0" encoding="utf-8"?>
<ds:datastoreItem xmlns:ds="http://schemas.openxmlformats.org/officeDocument/2006/customXml" ds:itemID="{DB469251-26C4-4223-92C9-72D773D1A1BF}"/>
</file>

<file path=customXml/itemProps3.xml><?xml version="1.0" encoding="utf-8"?>
<ds:datastoreItem xmlns:ds="http://schemas.openxmlformats.org/officeDocument/2006/customXml" ds:itemID="{0C6E272D-D02C-4FFF-A11D-8C06E7D2BF02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084</TotalTime>
  <Words>1572</Words>
  <Application>Microsoft Office PowerPoint</Application>
  <PresentationFormat>On-screen Show (4:3)</PresentationFormat>
  <Paragraphs>255</Paragraphs>
  <Slides>32</Slides>
  <Notes>19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2</vt:i4>
      </vt:variant>
    </vt:vector>
  </HeadingPairs>
  <TitlesOfParts>
    <vt:vector size="35" baseType="lpstr">
      <vt:lpstr>Median</vt:lpstr>
      <vt:lpstr>Upper-median</vt:lpstr>
      <vt:lpstr>Office Theme</vt:lpstr>
      <vt:lpstr>The Child Online Protection (COP) Initiativ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nect 2020 Vision</vt:lpstr>
      <vt:lpstr>Connect 2020, Goal 3: Sustainability and COP</vt:lpstr>
      <vt:lpstr>COP partnership framework</vt:lpstr>
      <vt:lpstr>Proposed COP Goal and Targets</vt:lpstr>
      <vt:lpstr>Elaboration</vt:lpstr>
      <vt:lpstr>PowerPoint Presentation</vt:lpstr>
      <vt:lpstr>PowerPoint Presentation</vt:lpstr>
      <vt:lpstr>WSIS Forum 2015</vt:lpstr>
    </vt:vector>
  </TitlesOfParts>
  <Company>IT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gglesis, Vaggelis</dc:creator>
  <cp:lastModifiedBy>Chevtchenko, Marina</cp:lastModifiedBy>
  <cp:revision>1856</cp:revision>
  <cp:lastPrinted>2014-12-02T09:57:29Z</cp:lastPrinted>
  <dcterms:created xsi:type="dcterms:W3CDTF">2011-09-07T08:28:06Z</dcterms:created>
  <dcterms:modified xsi:type="dcterms:W3CDTF">2015-04-20T08:08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2240BEE36140C4099AA2AE462C59614</vt:lpwstr>
  </property>
</Properties>
</file>